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5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0" r:id="rId2"/>
    <p:sldMasterId id="2147483675" r:id="rId3"/>
    <p:sldMasterId id="2147483680" r:id="rId4"/>
  </p:sldMasterIdLst>
  <p:notesMasterIdLst>
    <p:notesMasterId r:id="rId15"/>
  </p:notesMasterIdLst>
  <p:sldIdLst>
    <p:sldId id="742" r:id="rId5"/>
    <p:sldId id="8166" r:id="rId6"/>
    <p:sldId id="8167" r:id="rId7"/>
    <p:sldId id="8170" r:id="rId8"/>
    <p:sldId id="8171" r:id="rId9"/>
    <p:sldId id="8172" r:id="rId10"/>
    <p:sldId id="8173" r:id="rId11"/>
    <p:sldId id="8174" r:id="rId12"/>
    <p:sldId id="8175" r:id="rId13"/>
    <p:sldId id="8169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CC99"/>
    <a:srgbClr val="CC6600"/>
    <a:srgbClr val="EE6B3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9" d="100"/>
          <a:sy n="69" d="100"/>
        </p:scale>
        <p:origin x="756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FFD0B2-54B0-403A-9F00-74EC052B0472}" type="datetimeFigureOut">
              <a:rPr lang="en-IN" smtClean="0"/>
              <a:t>11-08-2021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B6DC914-E8F0-4FF4-AECA-AEB3B8C42287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363422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Yellow Title Slide for projection only, not for print">
    <p:bg>
      <p:bgPr>
        <a:solidFill>
          <a:srgbClr val="FFD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77333" y="1007836"/>
            <a:ext cx="11108267" cy="2048073"/>
          </a:xfrm>
        </p:spPr>
        <p:txBody>
          <a:bodyPr anchor="b">
            <a:noAutofit/>
          </a:bodyPr>
          <a:lstStyle>
            <a:lvl1pPr algn="l">
              <a:defRPr sz="5867" b="1">
                <a:solidFill>
                  <a:srgbClr val="161042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77333" y="3141435"/>
            <a:ext cx="11108267" cy="693965"/>
          </a:xfrm>
        </p:spPr>
        <p:txBody>
          <a:bodyPr>
            <a:noAutofit/>
          </a:bodyPr>
          <a:lstStyle>
            <a:lvl1pPr marL="0" indent="0" algn="l">
              <a:spcBef>
                <a:spcPts val="800"/>
              </a:spcBef>
              <a:buFont typeface="Wingdings" pitchFamily="2" charset="2"/>
              <a:buNone/>
              <a:defRPr sz="3733" i="1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14995" y="5626767"/>
            <a:ext cx="2923005" cy="1006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32193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orient="horz" pos="468">
          <p15:clr>
            <a:srgbClr val="FBAE40"/>
          </p15:clr>
        </p15:guide>
        <p15:guide id="2" pos="320">
          <p15:clr>
            <a:srgbClr val="FBAE40"/>
          </p15:clr>
        </p15:guide>
        <p15:guide id="3" orient="horz" pos="2244">
          <p15:clr>
            <a:srgbClr val="FBAE40"/>
          </p15:clr>
        </p15:guide>
        <p15:guide id="4" pos="211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589"/>
            <a:ext cx="9144000" cy="2388054"/>
          </a:xfrm>
          <a:prstGeom prst="rect">
            <a:avLst/>
          </a:prstGeom>
        </p:spPr>
        <p:txBody>
          <a:bodyPr anchor="b"/>
          <a:lstStyle>
            <a:lvl1pPr algn="ctr">
              <a:defRPr sz="642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491"/>
            <a:ext cx="9144000" cy="165496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571"/>
            </a:lvl1pPr>
            <a:lvl2pPr marL="489844" indent="0" algn="ctr">
              <a:buNone/>
              <a:defRPr sz="2143"/>
            </a:lvl2pPr>
            <a:lvl3pPr marL="979688" indent="0" algn="ctr">
              <a:buNone/>
              <a:defRPr sz="1929"/>
            </a:lvl3pPr>
            <a:lvl4pPr marL="1469532" indent="0" algn="ctr">
              <a:buNone/>
              <a:defRPr sz="1714"/>
            </a:lvl4pPr>
            <a:lvl5pPr marL="1959376" indent="0" algn="ctr">
              <a:buNone/>
              <a:defRPr sz="1714"/>
            </a:lvl5pPr>
            <a:lvl6pPr marL="2449220" indent="0" algn="ctr">
              <a:buNone/>
              <a:defRPr sz="1714"/>
            </a:lvl6pPr>
            <a:lvl7pPr marL="2939064" indent="0" algn="ctr">
              <a:buNone/>
              <a:defRPr sz="1714"/>
            </a:lvl7pPr>
            <a:lvl8pPr marL="3428909" indent="0" algn="ctr">
              <a:buNone/>
              <a:defRPr sz="1714"/>
            </a:lvl8pPr>
            <a:lvl9pPr marL="3918753" indent="0" algn="ctr">
              <a:buNone/>
              <a:defRPr sz="1714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237"/>
            <a:ext cx="2743200" cy="365691"/>
          </a:xfrm>
          <a:prstGeom prst="rect">
            <a:avLst/>
          </a:prstGeom>
        </p:spPr>
        <p:txBody>
          <a:bodyPr/>
          <a:lstStyle/>
          <a:p>
            <a:pPr defTabSz="799425"/>
            <a:endParaRPr lang="en-US" sz="1574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237"/>
            <a:ext cx="4114800" cy="365691"/>
          </a:xfrm>
          <a:prstGeom prst="rect">
            <a:avLst/>
          </a:prstGeom>
        </p:spPr>
        <p:txBody>
          <a:bodyPr/>
          <a:lstStyle/>
          <a:p>
            <a:pPr defTabSz="799425"/>
            <a:r>
              <a:rPr lang="en-US" sz="1574" smtClean="0">
                <a:solidFill>
                  <a:prstClr val="black"/>
                </a:solidFill>
              </a:rPr>
              <a:t>*Health check up packages are different for few diagnostic centres </a:t>
            </a:r>
            <a:endParaRPr lang="en-US" sz="1574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237"/>
            <a:ext cx="2743200" cy="365691"/>
          </a:xfrm>
          <a:prstGeom prst="rect">
            <a:avLst/>
          </a:prstGeom>
        </p:spPr>
        <p:txBody>
          <a:bodyPr/>
          <a:lstStyle/>
          <a:p>
            <a:pPr defTabSz="799425"/>
            <a:fld id="{16E3454C-39DB-4D10-B777-8D695533BB35}" type="slidenum">
              <a:rPr lang="en-US" sz="1574" smtClean="0">
                <a:solidFill>
                  <a:prstClr val="black"/>
                </a:solidFill>
              </a:rPr>
              <a:pPr defTabSz="799425"/>
              <a:t>‹#›</a:t>
            </a:fld>
            <a:endParaRPr lang="en-US" sz="1574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7091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693"/>
            <a:ext cx="10515600" cy="132499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059"/>
            <a:ext cx="10515600" cy="435258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237"/>
            <a:ext cx="2743200" cy="365691"/>
          </a:xfrm>
          <a:prstGeom prst="rect">
            <a:avLst/>
          </a:prstGeom>
        </p:spPr>
        <p:txBody>
          <a:bodyPr/>
          <a:lstStyle/>
          <a:p>
            <a:pPr defTabSz="799425"/>
            <a:endParaRPr lang="en-US" sz="1574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237"/>
            <a:ext cx="4114800" cy="365691"/>
          </a:xfrm>
          <a:prstGeom prst="rect">
            <a:avLst/>
          </a:prstGeom>
        </p:spPr>
        <p:txBody>
          <a:bodyPr/>
          <a:lstStyle/>
          <a:p>
            <a:pPr defTabSz="799425"/>
            <a:r>
              <a:rPr lang="en-US" sz="1574" smtClean="0">
                <a:solidFill>
                  <a:prstClr val="black"/>
                </a:solidFill>
              </a:rPr>
              <a:t>*Health check up packages are different for few diagnostic centres </a:t>
            </a:r>
            <a:endParaRPr lang="en-US" sz="1574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237"/>
            <a:ext cx="2743200" cy="365691"/>
          </a:xfrm>
          <a:prstGeom prst="rect">
            <a:avLst/>
          </a:prstGeom>
        </p:spPr>
        <p:txBody>
          <a:bodyPr/>
          <a:lstStyle/>
          <a:p>
            <a:pPr defTabSz="799425"/>
            <a:fld id="{16E3454C-39DB-4D10-B777-8D695533BB35}" type="slidenum">
              <a:rPr lang="en-US" sz="1574" smtClean="0">
                <a:solidFill>
                  <a:prstClr val="black"/>
                </a:solidFill>
              </a:rPr>
              <a:pPr defTabSz="799425"/>
              <a:t>‹#›</a:t>
            </a:fld>
            <a:endParaRPr lang="en-US" sz="1574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28312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2424" cy="1700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799425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98902" y="990600"/>
            <a:ext cx="11083498" cy="51816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4E4F52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4E4F52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4E4F52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4E4F52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4E4F52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508000" y="274637"/>
            <a:ext cx="11074400" cy="487363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rgbClr val="4E4F52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slide title</a:t>
            </a:r>
          </a:p>
        </p:txBody>
      </p:sp>
    </p:spTree>
    <p:extLst>
      <p:ext uri="{BB962C8B-B14F-4D97-AF65-F5344CB8AC3E}">
        <p14:creationId xmlns:p14="http://schemas.microsoft.com/office/powerpoint/2010/main" val="4500935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589"/>
            <a:ext cx="9144000" cy="2388054"/>
          </a:xfrm>
          <a:prstGeom prst="rect">
            <a:avLst/>
          </a:prstGeom>
        </p:spPr>
        <p:txBody>
          <a:bodyPr anchor="b"/>
          <a:lstStyle>
            <a:lvl1pPr algn="ctr">
              <a:defRPr sz="642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491"/>
            <a:ext cx="9144000" cy="165496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571"/>
            </a:lvl1pPr>
            <a:lvl2pPr marL="489844" indent="0" algn="ctr">
              <a:buNone/>
              <a:defRPr sz="2143"/>
            </a:lvl2pPr>
            <a:lvl3pPr marL="979688" indent="0" algn="ctr">
              <a:buNone/>
              <a:defRPr sz="1929"/>
            </a:lvl3pPr>
            <a:lvl4pPr marL="1469532" indent="0" algn="ctr">
              <a:buNone/>
              <a:defRPr sz="1714"/>
            </a:lvl4pPr>
            <a:lvl5pPr marL="1959376" indent="0" algn="ctr">
              <a:buNone/>
              <a:defRPr sz="1714"/>
            </a:lvl5pPr>
            <a:lvl6pPr marL="2449220" indent="0" algn="ctr">
              <a:buNone/>
              <a:defRPr sz="1714"/>
            </a:lvl6pPr>
            <a:lvl7pPr marL="2939064" indent="0" algn="ctr">
              <a:buNone/>
              <a:defRPr sz="1714"/>
            </a:lvl7pPr>
            <a:lvl8pPr marL="3428909" indent="0" algn="ctr">
              <a:buNone/>
              <a:defRPr sz="1714"/>
            </a:lvl8pPr>
            <a:lvl9pPr marL="3918753" indent="0" algn="ctr">
              <a:buNone/>
              <a:defRPr sz="1714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237"/>
            <a:ext cx="2743200" cy="365691"/>
          </a:xfrm>
          <a:prstGeom prst="rect">
            <a:avLst/>
          </a:prstGeom>
        </p:spPr>
        <p:txBody>
          <a:bodyPr/>
          <a:lstStyle/>
          <a:p>
            <a:pPr defTabSz="799425"/>
            <a:endParaRPr lang="en-US" sz="1574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237"/>
            <a:ext cx="4114800" cy="365691"/>
          </a:xfrm>
          <a:prstGeom prst="rect">
            <a:avLst/>
          </a:prstGeom>
        </p:spPr>
        <p:txBody>
          <a:bodyPr/>
          <a:lstStyle/>
          <a:p>
            <a:pPr defTabSz="799425"/>
            <a:r>
              <a:rPr lang="en-US" sz="1574" smtClean="0">
                <a:solidFill>
                  <a:prstClr val="black"/>
                </a:solidFill>
              </a:rPr>
              <a:t>*Health check up packages are different for few diagnostic centres </a:t>
            </a:r>
            <a:endParaRPr lang="en-US" sz="1574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237"/>
            <a:ext cx="2743200" cy="365691"/>
          </a:xfrm>
          <a:prstGeom prst="rect">
            <a:avLst/>
          </a:prstGeom>
        </p:spPr>
        <p:txBody>
          <a:bodyPr/>
          <a:lstStyle/>
          <a:p>
            <a:pPr defTabSz="799425"/>
            <a:fld id="{16E3454C-39DB-4D10-B777-8D695533BB35}" type="slidenum">
              <a:rPr lang="en-US" sz="1574" smtClean="0">
                <a:solidFill>
                  <a:prstClr val="black"/>
                </a:solidFill>
              </a:rPr>
              <a:pPr defTabSz="799425"/>
              <a:t>‹#›</a:t>
            </a:fld>
            <a:endParaRPr lang="en-US" sz="1574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61547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693"/>
            <a:ext cx="10515600" cy="132499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059"/>
            <a:ext cx="10515600" cy="435258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237"/>
            <a:ext cx="2743200" cy="365691"/>
          </a:xfrm>
          <a:prstGeom prst="rect">
            <a:avLst/>
          </a:prstGeom>
        </p:spPr>
        <p:txBody>
          <a:bodyPr/>
          <a:lstStyle/>
          <a:p>
            <a:pPr defTabSz="799425"/>
            <a:endParaRPr lang="en-US" sz="1574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237"/>
            <a:ext cx="4114800" cy="365691"/>
          </a:xfrm>
          <a:prstGeom prst="rect">
            <a:avLst/>
          </a:prstGeom>
        </p:spPr>
        <p:txBody>
          <a:bodyPr/>
          <a:lstStyle/>
          <a:p>
            <a:pPr defTabSz="799425"/>
            <a:r>
              <a:rPr lang="en-US" sz="1574" smtClean="0">
                <a:solidFill>
                  <a:prstClr val="black"/>
                </a:solidFill>
              </a:rPr>
              <a:t>*Health check up packages are different for few diagnostic centres </a:t>
            </a:r>
            <a:endParaRPr lang="en-US" sz="1574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237"/>
            <a:ext cx="2743200" cy="365691"/>
          </a:xfrm>
          <a:prstGeom prst="rect">
            <a:avLst/>
          </a:prstGeom>
        </p:spPr>
        <p:txBody>
          <a:bodyPr/>
          <a:lstStyle/>
          <a:p>
            <a:pPr defTabSz="799425"/>
            <a:fld id="{16E3454C-39DB-4D10-B777-8D695533BB35}" type="slidenum">
              <a:rPr lang="en-US" sz="1574" smtClean="0">
                <a:solidFill>
                  <a:prstClr val="black"/>
                </a:solidFill>
              </a:rPr>
              <a:pPr defTabSz="799425"/>
              <a:t>‹#›</a:t>
            </a:fld>
            <a:endParaRPr lang="en-US" sz="1574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55402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2424" cy="1700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799425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98902" y="990600"/>
            <a:ext cx="11083498" cy="51816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4E4F52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4E4F52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4E4F52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4E4F52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4E4F52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508000" y="274637"/>
            <a:ext cx="11074400" cy="487363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rgbClr val="4E4F52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slide title</a:t>
            </a:r>
          </a:p>
        </p:txBody>
      </p:sp>
    </p:spTree>
    <p:extLst>
      <p:ext uri="{BB962C8B-B14F-4D97-AF65-F5344CB8AC3E}">
        <p14:creationId xmlns:p14="http://schemas.microsoft.com/office/powerpoint/2010/main" val="5231079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799425"/>
            <a:endParaRPr lang="en-US" sz="1574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/>
          <a:lstStyle/>
          <a:p>
            <a:pPr defTabSz="799425"/>
            <a:r>
              <a:rPr lang="en-US" sz="1574" smtClean="0">
                <a:solidFill>
                  <a:prstClr val="black"/>
                </a:solidFill>
              </a:rPr>
              <a:t>*Health check up packages are different for few diagnostic centres </a:t>
            </a:r>
            <a:endParaRPr lang="en-US" sz="1574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799425"/>
            <a:fld id="{D91F2D4B-ACB9-4384-BAD2-21C2BA06EA65}" type="slidenum">
              <a:rPr lang="en-US" sz="1574" smtClean="0">
                <a:solidFill>
                  <a:prstClr val="black"/>
                </a:solidFill>
              </a:rPr>
              <a:pPr defTabSz="799425"/>
              <a:t>‹#›</a:t>
            </a:fld>
            <a:endParaRPr lang="en-US" sz="1574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41521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Yellow Title Slide for projection only, not for print">
    <p:bg>
      <p:bgPr>
        <a:solidFill>
          <a:srgbClr val="FFD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77333" y="1007836"/>
            <a:ext cx="11108267" cy="2048073"/>
          </a:xfrm>
        </p:spPr>
        <p:txBody>
          <a:bodyPr anchor="b">
            <a:noAutofit/>
          </a:bodyPr>
          <a:lstStyle>
            <a:lvl1pPr algn="l">
              <a:defRPr sz="5867" b="1">
                <a:solidFill>
                  <a:srgbClr val="161042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77333" y="3141435"/>
            <a:ext cx="11108267" cy="693965"/>
          </a:xfrm>
        </p:spPr>
        <p:txBody>
          <a:bodyPr>
            <a:noAutofit/>
          </a:bodyPr>
          <a:lstStyle>
            <a:lvl1pPr marL="0" indent="0" algn="l">
              <a:spcBef>
                <a:spcPts val="800"/>
              </a:spcBef>
              <a:buFont typeface="Wingdings" pitchFamily="2" charset="2"/>
              <a:buNone/>
              <a:defRPr sz="3733" i="1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14995" y="5626767"/>
            <a:ext cx="2923005" cy="1006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23038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orient="horz" pos="468">
          <p15:clr>
            <a:srgbClr val="FBAE40"/>
          </p15:clr>
        </p15:guide>
        <p15:guide id="2" pos="320">
          <p15:clr>
            <a:srgbClr val="FBAE40"/>
          </p15:clr>
        </p15:guide>
        <p15:guide id="3" orient="horz" pos="2244">
          <p15:clr>
            <a:srgbClr val="FBAE40"/>
          </p15:clr>
        </p15:guide>
        <p15:guide id="4" pos="211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Title Slide - for print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77333" y="1007836"/>
            <a:ext cx="11108267" cy="2048073"/>
          </a:xfrm>
        </p:spPr>
        <p:txBody>
          <a:bodyPr anchor="b">
            <a:noAutofit/>
          </a:bodyPr>
          <a:lstStyle>
            <a:lvl1pPr algn="l">
              <a:defRPr sz="5867" b="1">
                <a:solidFill>
                  <a:srgbClr val="161042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77333" y="3141435"/>
            <a:ext cx="11108267" cy="693965"/>
          </a:xfrm>
        </p:spPr>
        <p:txBody>
          <a:bodyPr>
            <a:noAutofit/>
          </a:bodyPr>
          <a:lstStyle>
            <a:lvl1pPr marL="0" indent="0" algn="l">
              <a:spcBef>
                <a:spcPts val="800"/>
              </a:spcBef>
              <a:buFont typeface="Wingdings" pitchFamily="2" charset="2"/>
              <a:buNone/>
              <a:defRPr sz="3733" i="1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14995" y="5626767"/>
            <a:ext cx="2923005" cy="1006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57843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orient="horz" pos="468">
          <p15:clr>
            <a:srgbClr val="FBAE40"/>
          </p15:clr>
        </p15:guide>
        <p15:guide id="2" pos="320">
          <p15:clr>
            <a:srgbClr val="FBAE40"/>
          </p15:clr>
        </p15:guide>
        <p15:guide id="3" orient="horz" pos="2244">
          <p15:clr>
            <a:srgbClr val="FBAE40"/>
          </p15:clr>
        </p15:guide>
        <p15:guide id="4" pos="2112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733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91746"/>
            <a:ext cx="11582400" cy="505040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304800" y="1028733"/>
            <a:ext cx="11582400" cy="0"/>
          </a:xfrm>
          <a:prstGeom prst="line">
            <a:avLst/>
          </a:prstGeom>
          <a:ln>
            <a:solidFill>
              <a:srgbClr val="06748C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88049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Title Slide - for print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77333" y="1007836"/>
            <a:ext cx="11108267" cy="2048073"/>
          </a:xfrm>
        </p:spPr>
        <p:txBody>
          <a:bodyPr anchor="b">
            <a:noAutofit/>
          </a:bodyPr>
          <a:lstStyle>
            <a:lvl1pPr algn="l">
              <a:defRPr sz="5867" b="1">
                <a:solidFill>
                  <a:srgbClr val="161042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77333" y="3141435"/>
            <a:ext cx="11108267" cy="693965"/>
          </a:xfrm>
        </p:spPr>
        <p:txBody>
          <a:bodyPr>
            <a:noAutofit/>
          </a:bodyPr>
          <a:lstStyle>
            <a:lvl1pPr marL="0" indent="0" algn="l">
              <a:spcBef>
                <a:spcPts val="800"/>
              </a:spcBef>
              <a:buFont typeface="Wingdings" pitchFamily="2" charset="2"/>
              <a:buNone/>
              <a:defRPr sz="3733" i="1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14995" y="5626767"/>
            <a:ext cx="2923005" cy="1006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4661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orient="horz" pos="468">
          <p15:clr>
            <a:srgbClr val="FBAE40"/>
          </p15:clr>
        </p15:guide>
        <p15:guide id="2" pos="320">
          <p15:clr>
            <a:srgbClr val="FBAE40"/>
          </p15:clr>
        </p15:guide>
        <p15:guide id="3" orient="horz" pos="2244">
          <p15:clr>
            <a:srgbClr val="FBAE40"/>
          </p15:clr>
        </p15:guide>
        <p15:guide id="4" pos="2112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508000" y="1028733"/>
            <a:ext cx="11125200" cy="0"/>
          </a:xfrm>
          <a:prstGeom prst="line">
            <a:avLst/>
          </a:prstGeom>
          <a:ln>
            <a:solidFill>
              <a:srgbClr val="06748C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76614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283481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No Footer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733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91746"/>
            <a:ext cx="11582400" cy="528685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161492" y="6508889"/>
            <a:ext cx="349775" cy="2319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eaLnBrk="0" fontAlgn="base" hangingPunct="0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</a:pPr>
            <a:fld id="{2F0E0454-92CF-4A52-8378-7A841E208F12}" type="slidenum">
              <a:rPr lang="en-US" sz="1067" smtClean="0">
                <a:solidFill>
                  <a:srgbClr val="343741"/>
                </a:solidFill>
                <a:latin typeface="Arial" charset="0"/>
                <a:cs typeface="Arial" charset="0"/>
              </a:rPr>
              <a:pPr algn="r" eaLnBrk="0" fontAlgn="base" hangingPunct="0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1067" dirty="0">
              <a:solidFill>
                <a:srgbClr val="343741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297306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 Footer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73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161492" y="6508889"/>
            <a:ext cx="349775" cy="2319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eaLnBrk="0" fontAlgn="base" hangingPunct="0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</a:pPr>
            <a:fld id="{2F0E0454-92CF-4A52-8378-7A841E208F12}" type="slidenum">
              <a:rPr lang="en-US" sz="1067" smtClean="0">
                <a:solidFill>
                  <a:srgbClr val="343741"/>
                </a:solidFill>
                <a:latin typeface="Arial" charset="0"/>
                <a:cs typeface="Arial" charset="0"/>
              </a:rPr>
              <a:pPr algn="r" eaLnBrk="0" fontAlgn="base" hangingPunct="0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1067" dirty="0">
              <a:solidFill>
                <a:srgbClr val="343741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547545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Log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1531" y="836713"/>
            <a:ext cx="8582991" cy="4299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920879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98901" y="990600"/>
            <a:ext cx="11083499" cy="51816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4E4F52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4E4F52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4E4F52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4E4F52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4E4F52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508000" y="274638"/>
            <a:ext cx="11074400" cy="487363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rgbClr val="4E4F52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slide title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508000" y="838200"/>
            <a:ext cx="11125200" cy="0"/>
          </a:xfrm>
          <a:prstGeom prst="line">
            <a:avLst/>
          </a:prstGeom>
          <a:ln>
            <a:solidFill>
              <a:srgbClr val="5381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242711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589"/>
            <a:ext cx="9144000" cy="2388054"/>
          </a:xfrm>
          <a:prstGeom prst="rect">
            <a:avLst/>
          </a:prstGeom>
        </p:spPr>
        <p:txBody>
          <a:bodyPr anchor="b"/>
          <a:lstStyle>
            <a:lvl1pPr algn="ctr">
              <a:defRPr sz="642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491"/>
            <a:ext cx="9144000" cy="165496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571"/>
            </a:lvl1pPr>
            <a:lvl2pPr marL="489844" indent="0" algn="ctr">
              <a:buNone/>
              <a:defRPr sz="2143"/>
            </a:lvl2pPr>
            <a:lvl3pPr marL="979688" indent="0" algn="ctr">
              <a:buNone/>
              <a:defRPr sz="1929"/>
            </a:lvl3pPr>
            <a:lvl4pPr marL="1469532" indent="0" algn="ctr">
              <a:buNone/>
              <a:defRPr sz="1714"/>
            </a:lvl4pPr>
            <a:lvl5pPr marL="1959376" indent="0" algn="ctr">
              <a:buNone/>
              <a:defRPr sz="1714"/>
            </a:lvl5pPr>
            <a:lvl6pPr marL="2449220" indent="0" algn="ctr">
              <a:buNone/>
              <a:defRPr sz="1714"/>
            </a:lvl6pPr>
            <a:lvl7pPr marL="2939064" indent="0" algn="ctr">
              <a:buNone/>
              <a:defRPr sz="1714"/>
            </a:lvl7pPr>
            <a:lvl8pPr marL="3428909" indent="0" algn="ctr">
              <a:buNone/>
              <a:defRPr sz="1714"/>
            </a:lvl8pPr>
            <a:lvl9pPr marL="3918753" indent="0" algn="ctr">
              <a:buNone/>
              <a:defRPr sz="1714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237"/>
            <a:ext cx="2743200" cy="365691"/>
          </a:xfrm>
          <a:prstGeom prst="rect">
            <a:avLst/>
          </a:prstGeom>
        </p:spPr>
        <p:txBody>
          <a:bodyPr/>
          <a:lstStyle/>
          <a:p>
            <a:fld id="{425589A8-FD7A-4E55-B04E-42B972AD4273}" type="datetimeFigureOut">
              <a:rPr lang="en-US" smtClean="0"/>
              <a:t>8/1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237"/>
            <a:ext cx="4114800" cy="36569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237"/>
            <a:ext cx="2743200" cy="365691"/>
          </a:xfrm>
          <a:prstGeom prst="rect">
            <a:avLst/>
          </a:prstGeom>
        </p:spPr>
        <p:txBody>
          <a:bodyPr/>
          <a:lstStyle/>
          <a:p>
            <a:fld id="{16E3454C-39DB-4D10-B777-8D695533B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83598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733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91746"/>
            <a:ext cx="11582400" cy="505040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304800" y="1028733"/>
            <a:ext cx="11582400" cy="0"/>
          </a:xfrm>
          <a:prstGeom prst="line">
            <a:avLst/>
          </a:prstGeom>
          <a:ln>
            <a:solidFill>
              <a:srgbClr val="06748C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57148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508000" y="1028733"/>
            <a:ext cx="11125200" cy="0"/>
          </a:xfrm>
          <a:prstGeom prst="line">
            <a:avLst/>
          </a:prstGeom>
          <a:ln>
            <a:solidFill>
              <a:srgbClr val="06748C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59075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096220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No Footer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733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91746"/>
            <a:ext cx="11582400" cy="528685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161492" y="6508889"/>
            <a:ext cx="349775" cy="2319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eaLnBrk="0" fontAlgn="base" hangingPunct="0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</a:pPr>
            <a:fld id="{2F0E0454-92CF-4A52-8378-7A841E208F12}" type="slidenum">
              <a:rPr lang="en-US" sz="1067" smtClean="0">
                <a:solidFill>
                  <a:srgbClr val="343741"/>
                </a:solidFill>
                <a:latin typeface="Arial" charset="0"/>
                <a:cs typeface="Arial" charset="0"/>
              </a:rPr>
              <a:pPr algn="r" eaLnBrk="0" fontAlgn="base" hangingPunct="0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1067" dirty="0">
              <a:solidFill>
                <a:srgbClr val="343741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26017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 Footer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73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161492" y="6508889"/>
            <a:ext cx="349775" cy="2319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eaLnBrk="0" fontAlgn="base" hangingPunct="0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</a:pPr>
            <a:fld id="{2F0E0454-92CF-4A52-8378-7A841E208F12}" type="slidenum">
              <a:rPr lang="en-US" sz="1067" smtClean="0">
                <a:solidFill>
                  <a:srgbClr val="343741"/>
                </a:solidFill>
                <a:latin typeface="Arial" charset="0"/>
                <a:cs typeface="Arial" charset="0"/>
              </a:rPr>
              <a:pPr algn="r" eaLnBrk="0" fontAlgn="base" hangingPunct="0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1067" dirty="0">
              <a:solidFill>
                <a:srgbClr val="343741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37461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Log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1531" y="836713"/>
            <a:ext cx="8582991" cy="4299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5837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98901" y="990600"/>
            <a:ext cx="11083499" cy="51816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4E4F52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4E4F52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4E4F52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4E4F52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4E4F52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508000" y="274638"/>
            <a:ext cx="11074400" cy="487363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rgbClr val="4E4F52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slide title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508000" y="838200"/>
            <a:ext cx="11125200" cy="0"/>
          </a:xfrm>
          <a:prstGeom prst="line">
            <a:avLst/>
          </a:prstGeom>
          <a:ln>
            <a:solidFill>
              <a:srgbClr val="5381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92845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7.pn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.pn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tags" Target="../tags/tag8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vmlDrawing" Target="../drawings/vmlDrawing5.vml"/><Relationship Id="rId17" Type="http://schemas.openxmlformats.org/officeDocument/2006/relationships/image" Target="../media/image3.jpeg"/><Relationship Id="rId2" Type="http://schemas.openxmlformats.org/officeDocument/2006/relationships/slideLayout" Target="../slideLayouts/slideLayout18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21.xml"/><Relationship Id="rId15" Type="http://schemas.openxmlformats.org/officeDocument/2006/relationships/oleObject" Target="../embeddings/oleObject5.bin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tags" Target="../tags/tag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F485E86-629B-4AAC-9204-E4DE5BE8FC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893844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" name="think-cell Slide" r:id="rId14" imgW="470" imgH="469" progId="TCLayout.ActiveDocument.1">
                  <p:embed/>
                </p:oleObj>
              </mc:Choice>
              <mc:Fallback>
                <p:oleObj name="think-cell Slide" r:id="rId14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F485E86-629B-4AAC-9204-E4DE5BE8FC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4F14A4D-9EA3-4897-B8F9-6FAD6317D4CC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733" b="1" i="0" baseline="0" dirty="0">
              <a:solidFill>
                <a:schemeClr val="tx2"/>
              </a:solidFill>
              <a:latin typeface="Roboto"/>
              <a:ea typeface="+mj-ea"/>
              <a:cs typeface="Arial" panose="020B0604020202020204" pitchFamily="34" charset="0"/>
              <a:sym typeface="Roboto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44548"/>
            <a:ext cx="11582400" cy="1117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291746"/>
            <a:ext cx="11582400" cy="499717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Rectangle 29"/>
          <p:cNvSpPr>
            <a:spLocks noChangeArrowheads="1"/>
          </p:cNvSpPr>
          <p:nvPr userDrawn="1"/>
        </p:nvSpPr>
        <p:spPr bwMode="ltGray">
          <a:xfrm>
            <a:off x="8940800" y="6375400"/>
            <a:ext cx="3251200" cy="482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pPr algn="ctr" eaLnBrk="0" fontAlgn="base" hangingPunct="0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</a:pPr>
            <a:endParaRPr lang="en-US" sz="1333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9" name="Rectangle 29"/>
          <p:cNvSpPr>
            <a:spLocks noChangeArrowheads="1"/>
          </p:cNvSpPr>
          <p:nvPr userDrawn="1"/>
        </p:nvSpPr>
        <p:spPr bwMode="ltGray">
          <a:xfrm>
            <a:off x="0" y="6375400"/>
            <a:ext cx="8940800" cy="4826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pPr algn="ctr" eaLnBrk="0" fontAlgn="base" hangingPunct="0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</a:pPr>
            <a:endParaRPr lang="en-US" sz="1333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161492" y="6485383"/>
            <a:ext cx="349775" cy="2319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eaLnBrk="0" fontAlgn="base" hangingPunct="0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</a:pPr>
            <a:fld id="{2F0E0454-92CF-4A52-8378-7A841E208F12}" type="slidenum">
              <a:rPr lang="en-US" sz="1067" smtClean="0">
                <a:solidFill>
                  <a:srgbClr val="FFFFFF"/>
                </a:solidFill>
                <a:latin typeface="Arial" charset="0"/>
                <a:cs typeface="Arial" charset="0"/>
              </a:rPr>
              <a:pPr algn="r" eaLnBrk="0" fontAlgn="base" hangingPunct="0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1067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422400" y="6485383"/>
            <a:ext cx="6096000" cy="23192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0" fontAlgn="base" hangingPunct="0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</a:pPr>
            <a:r>
              <a:rPr lang="en-US" sz="1067" dirty="0">
                <a:solidFill>
                  <a:srgbClr val="FFFFFF"/>
                </a:solidFill>
                <a:ea typeface="Calibri" panose="020F0502020204030204" pitchFamily="34" charset="0"/>
                <a:cs typeface="Arial" charset="0"/>
              </a:rPr>
              <a:t>Confidential &amp; Proprietary – Not for Distribution</a:t>
            </a:r>
            <a:endParaRPr lang="en-US" sz="1067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672"/>
          <a:stretch/>
        </p:blipFill>
        <p:spPr>
          <a:xfrm>
            <a:off x="10224459" y="6404631"/>
            <a:ext cx="911424" cy="407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70013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hf sldNum="0" hdr="0" ftr="0" dt="0"/>
  <p:txStyles>
    <p:titleStyle>
      <a:lvl1pPr algn="l" defTabSz="1219170" rtl="0" eaLnBrk="1" latinLnBrk="0" hangingPunct="1">
        <a:spcBef>
          <a:spcPct val="0"/>
        </a:spcBef>
        <a:buNone/>
        <a:defRPr sz="3733" b="1" kern="1200">
          <a:solidFill>
            <a:schemeClr val="tx2"/>
          </a:solidFill>
          <a:latin typeface="+mj-lt"/>
          <a:ea typeface="+mj-ea"/>
          <a:cs typeface="Arial" pitchFamily="34" charset="0"/>
        </a:defRPr>
      </a:lvl1pPr>
    </p:titleStyle>
    <p:bodyStyle>
      <a:lvl1pPr marL="260344" indent="-260344" algn="l" defTabSz="1219170" rtl="0" eaLnBrk="1" latinLnBrk="0" hangingPunct="1">
        <a:spcBef>
          <a:spcPct val="20000"/>
        </a:spcBef>
        <a:buClr>
          <a:schemeClr val="tx2"/>
        </a:buClr>
        <a:buSzPct val="90000"/>
        <a:buFont typeface="Wingdings 2" panose="05020102010507070707" pitchFamily="18" charset="2"/>
        <a:buChar char=""/>
        <a:tabLst>
          <a:tab pos="609585" algn="l"/>
        </a:tabLst>
        <a:defRPr sz="2933" kern="1200">
          <a:solidFill>
            <a:schemeClr val="tx1"/>
          </a:solidFill>
          <a:latin typeface="+mj-lt"/>
          <a:ea typeface="+mn-ea"/>
          <a:cs typeface="Arial" pitchFamily="34" charset="0"/>
        </a:defRPr>
      </a:lvl1pPr>
      <a:lvl2pPr marL="541853" indent="-270927" algn="l" defTabSz="1219170" rtl="0" eaLnBrk="1" latinLnBrk="0" hangingPunct="1">
        <a:spcBef>
          <a:spcPct val="20000"/>
        </a:spcBef>
        <a:buClr>
          <a:schemeClr val="tx2"/>
        </a:buClr>
        <a:buFont typeface="Arial" panose="020B0604020202020204" pitchFamily="34" charset="0"/>
        <a:buChar char="−"/>
        <a:tabLst/>
        <a:defRPr sz="2667" kern="1200">
          <a:solidFill>
            <a:schemeClr val="tx1"/>
          </a:solidFill>
          <a:latin typeface="+mj-lt"/>
          <a:ea typeface="+mn-ea"/>
          <a:cs typeface="Arial" pitchFamily="34" charset="0"/>
        </a:defRPr>
      </a:lvl2pPr>
      <a:lvl3pPr marL="711182" indent="-179913" algn="l" defTabSz="1219170" rtl="0" eaLnBrk="1" latinLnBrk="0" hangingPunct="1">
        <a:spcBef>
          <a:spcPct val="20000"/>
        </a:spcBef>
        <a:buClr>
          <a:schemeClr val="tx2"/>
        </a:buClr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+mj-lt"/>
          <a:ea typeface="+mn-ea"/>
          <a:cs typeface="Arial" pitchFamily="34" charset="0"/>
        </a:defRPr>
      </a:lvl3pPr>
      <a:lvl4pPr marL="992693" indent="-213779" algn="l" defTabSz="1219170" rtl="0" eaLnBrk="1" latinLnBrk="0" hangingPunct="1">
        <a:spcBef>
          <a:spcPct val="20000"/>
        </a:spcBef>
        <a:buClr>
          <a:schemeClr val="tx2"/>
        </a:buClr>
        <a:buFont typeface="Arial" panose="020B0604020202020204" pitchFamily="34" charset="0"/>
        <a:buChar char="−"/>
        <a:tabLst/>
        <a:defRPr sz="2133" kern="1200">
          <a:solidFill>
            <a:schemeClr val="tx1"/>
          </a:solidFill>
          <a:latin typeface="+mj-lt"/>
          <a:ea typeface="+mn-ea"/>
          <a:cs typeface="Arial" pitchFamily="34" charset="0"/>
        </a:defRPr>
      </a:lvl4pPr>
      <a:lvl5pPr marL="1174721" indent="-182029" algn="l" defTabSz="1219170" rtl="0" eaLnBrk="1" latinLnBrk="0" hangingPunct="1">
        <a:spcBef>
          <a:spcPct val="20000"/>
        </a:spcBef>
        <a:buClr>
          <a:schemeClr val="tx2"/>
        </a:buClr>
        <a:buFont typeface="Arial" panose="020B0604020202020204" pitchFamily="34" charset="0"/>
        <a:buChar char="•"/>
        <a:tabLst>
          <a:tab pos="609585" algn="l"/>
        </a:tabLst>
        <a:defRPr sz="2133" kern="1200">
          <a:solidFill>
            <a:schemeClr val="tx1"/>
          </a:solidFill>
          <a:latin typeface="+mj-lt"/>
          <a:ea typeface="+mn-ea"/>
          <a:cs typeface="Arial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E:\Liberty General Insurance\General Corporate PPT Template_ORD 4409\General Corporate PPT Template_ORD 4409.png"/>
          <p:cNvPicPr>
            <a:picLocks noChangeAspect="1" noChangeArrowheads="1"/>
          </p:cNvPicPr>
          <p:nvPr userDrawn="1"/>
        </p:nvPicPr>
        <p:blipFill>
          <a:blip r:embed="rId5" cstate="print"/>
          <a:stretch>
            <a:fillRect/>
          </a:stretch>
        </p:blipFill>
        <p:spPr bwMode="auto">
          <a:xfrm>
            <a:off x="0" y="2"/>
            <a:ext cx="12192000" cy="6857999"/>
          </a:xfrm>
          <a:prstGeom prst="rect">
            <a:avLst/>
          </a:prstGeom>
          <a:noFill/>
        </p:spPr>
      </p:pic>
      <p:sp>
        <p:nvSpPr>
          <p:cNvPr id="2" name="Rectangle 1"/>
          <p:cNvSpPr/>
          <p:nvPr userDrawn="1"/>
        </p:nvSpPr>
        <p:spPr>
          <a:xfrm>
            <a:off x="0" y="812131"/>
            <a:ext cx="12192000" cy="582672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99425"/>
            <a:endParaRPr lang="en-US" sz="1574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1028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</p:sldLayoutIdLst>
  <p:hf sldNum="0" hdr="0" dt="0"/>
  <p:txStyles>
    <p:titleStyle>
      <a:lvl1pPr algn="l" defTabSz="979688" rtl="0" eaLnBrk="1" latinLnBrk="0" hangingPunct="1">
        <a:lnSpc>
          <a:spcPct val="90000"/>
        </a:lnSpc>
        <a:spcBef>
          <a:spcPct val="0"/>
        </a:spcBef>
        <a:buNone/>
        <a:defRPr sz="471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44922" indent="-244922" algn="l" defTabSz="979688" rtl="0" eaLnBrk="1" latinLnBrk="0" hangingPunct="1">
        <a:lnSpc>
          <a:spcPct val="90000"/>
        </a:lnSpc>
        <a:spcBef>
          <a:spcPts val="1071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734766" indent="-244922" algn="l" defTabSz="979688" rtl="0" eaLnBrk="1" latinLnBrk="0" hangingPunct="1">
        <a:lnSpc>
          <a:spcPct val="90000"/>
        </a:lnSpc>
        <a:spcBef>
          <a:spcPts val="536"/>
        </a:spcBef>
        <a:buFont typeface="Arial" panose="020B0604020202020204" pitchFamily="34" charset="0"/>
        <a:buChar char="•"/>
        <a:defRPr sz="2571" kern="1200">
          <a:solidFill>
            <a:schemeClr val="tx1"/>
          </a:solidFill>
          <a:latin typeface="+mn-lt"/>
          <a:ea typeface="+mn-ea"/>
          <a:cs typeface="+mn-cs"/>
        </a:defRPr>
      </a:lvl2pPr>
      <a:lvl3pPr marL="1224610" indent="-244922" algn="l" defTabSz="979688" rtl="0" eaLnBrk="1" latinLnBrk="0" hangingPunct="1">
        <a:lnSpc>
          <a:spcPct val="90000"/>
        </a:lnSpc>
        <a:spcBef>
          <a:spcPts val="536"/>
        </a:spcBef>
        <a:buFont typeface="Arial" panose="020B0604020202020204" pitchFamily="34" charset="0"/>
        <a:buChar char="•"/>
        <a:defRPr sz="2143" kern="1200">
          <a:solidFill>
            <a:schemeClr val="tx1"/>
          </a:solidFill>
          <a:latin typeface="+mn-lt"/>
          <a:ea typeface="+mn-ea"/>
          <a:cs typeface="+mn-cs"/>
        </a:defRPr>
      </a:lvl3pPr>
      <a:lvl4pPr marL="1714454" indent="-244922" algn="l" defTabSz="979688" rtl="0" eaLnBrk="1" latinLnBrk="0" hangingPunct="1">
        <a:lnSpc>
          <a:spcPct val="90000"/>
        </a:lnSpc>
        <a:spcBef>
          <a:spcPts val="536"/>
        </a:spcBef>
        <a:buFont typeface="Arial" panose="020B0604020202020204" pitchFamily="34" charset="0"/>
        <a:buChar char="•"/>
        <a:defRPr sz="1929" kern="1200">
          <a:solidFill>
            <a:schemeClr val="tx1"/>
          </a:solidFill>
          <a:latin typeface="+mn-lt"/>
          <a:ea typeface="+mn-ea"/>
          <a:cs typeface="+mn-cs"/>
        </a:defRPr>
      </a:lvl4pPr>
      <a:lvl5pPr marL="2204298" indent="-244922" algn="l" defTabSz="979688" rtl="0" eaLnBrk="1" latinLnBrk="0" hangingPunct="1">
        <a:lnSpc>
          <a:spcPct val="90000"/>
        </a:lnSpc>
        <a:spcBef>
          <a:spcPts val="536"/>
        </a:spcBef>
        <a:buFont typeface="Arial" panose="020B0604020202020204" pitchFamily="34" charset="0"/>
        <a:buChar char="•"/>
        <a:defRPr sz="1929" kern="1200">
          <a:solidFill>
            <a:schemeClr val="tx1"/>
          </a:solidFill>
          <a:latin typeface="+mn-lt"/>
          <a:ea typeface="+mn-ea"/>
          <a:cs typeface="+mn-cs"/>
        </a:defRPr>
      </a:lvl5pPr>
      <a:lvl6pPr marL="2694142" indent="-244922" algn="l" defTabSz="979688" rtl="0" eaLnBrk="1" latinLnBrk="0" hangingPunct="1">
        <a:lnSpc>
          <a:spcPct val="90000"/>
        </a:lnSpc>
        <a:spcBef>
          <a:spcPts val="536"/>
        </a:spcBef>
        <a:buFont typeface="Arial" panose="020B0604020202020204" pitchFamily="34" charset="0"/>
        <a:buChar char="•"/>
        <a:defRPr sz="1929" kern="1200">
          <a:solidFill>
            <a:schemeClr val="tx1"/>
          </a:solidFill>
          <a:latin typeface="+mn-lt"/>
          <a:ea typeface="+mn-ea"/>
          <a:cs typeface="+mn-cs"/>
        </a:defRPr>
      </a:lvl6pPr>
      <a:lvl7pPr marL="3183987" indent="-244922" algn="l" defTabSz="979688" rtl="0" eaLnBrk="1" latinLnBrk="0" hangingPunct="1">
        <a:lnSpc>
          <a:spcPct val="90000"/>
        </a:lnSpc>
        <a:spcBef>
          <a:spcPts val="536"/>
        </a:spcBef>
        <a:buFont typeface="Arial" panose="020B0604020202020204" pitchFamily="34" charset="0"/>
        <a:buChar char="•"/>
        <a:defRPr sz="1929" kern="1200">
          <a:solidFill>
            <a:schemeClr val="tx1"/>
          </a:solidFill>
          <a:latin typeface="+mn-lt"/>
          <a:ea typeface="+mn-ea"/>
          <a:cs typeface="+mn-cs"/>
        </a:defRPr>
      </a:lvl7pPr>
      <a:lvl8pPr marL="3673831" indent="-244922" algn="l" defTabSz="979688" rtl="0" eaLnBrk="1" latinLnBrk="0" hangingPunct="1">
        <a:lnSpc>
          <a:spcPct val="90000"/>
        </a:lnSpc>
        <a:spcBef>
          <a:spcPts val="536"/>
        </a:spcBef>
        <a:buFont typeface="Arial" panose="020B0604020202020204" pitchFamily="34" charset="0"/>
        <a:buChar char="•"/>
        <a:defRPr sz="1929" kern="1200">
          <a:solidFill>
            <a:schemeClr val="tx1"/>
          </a:solidFill>
          <a:latin typeface="+mn-lt"/>
          <a:ea typeface="+mn-ea"/>
          <a:cs typeface="+mn-cs"/>
        </a:defRPr>
      </a:lvl8pPr>
      <a:lvl9pPr marL="4163675" indent="-244922" algn="l" defTabSz="979688" rtl="0" eaLnBrk="1" latinLnBrk="0" hangingPunct="1">
        <a:lnSpc>
          <a:spcPct val="90000"/>
        </a:lnSpc>
        <a:spcBef>
          <a:spcPts val="536"/>
        </a:spcBef>
        <a:buFont typeface="Arial" panose="020B0604020202020204" pitchFamily="34" charset="0"/>
        <a:buChar char="•"/>
        <a:defRPr sz="192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9688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1pPr>
      <a:lvl2pPr marL="489844" algn="l" defTabSz="979688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2pPr>
      <a:lvl3pPr marL="979688" algn="l" defTabSz="979688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3pPr>
      <a:lvl4pPr marL="1469532" algn="l" defTabSz="979688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4pPr>
      <a:lvl5pPr marL="1959376" algn="l" defTabSz="979688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5pPr>
      <a:lvl6pPr marL="2449220" algn="l" defTabSz="979688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6pPr>
      <a:lvl7pPr marL="2939064" algn="l" defTabSz="979688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7pPr>
      <a:lvl8pPr marL="3428909" algn="l" defTabSz="979688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8pPr>
      <a:lvl9pPr marL="3918753" algn="l" defTabSz="979688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E:\Liberty General Insurance\General Corporate PPT Template_ORD 4409\General Corporate PPT Template_ORD 4409.png"/>
          <p:cNvPicPr>
            <a:picLocks noChangeAspect="1" noChangeArrowheads="1"/>
          </p:cNvPicPr>
          <p:nvPr userDrawn="1"/>
        </p:nvPicPr>
        <p:blipFill>
          <a:blip r:embed="rId6" cstate="print"/>
          <a:stretch>
            <a:fillRect/>
          </a:stretch>
        </p:blipFill>
        <p:spPr bwMode="auto">
          <a:xfrm>
            <a:off x="0" y="2"/>
            <a:ext cx="12192000" cy="6857999"/>
          </a:xfrm>
          <a:prstGeom prst="rect">
            <a:avLst/>
          </a:prstGeom>
          <a:noFill/>
        </p:spPr>
      </p:pic>
      <p:sp>
        <p:nvSpPr>
          <p:cNvPr id="2" name="Rectangle 1"/>
          <p:cNvSpPr/>
          <p:nvPr userDrawn="1"/>
        </p:nvSpPr>
        <p:spPr>
          <a:xfrm>
            <a:off x="0" y="812131"/>
            <a:ext cx="12192000" cy="582672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99425"/>
            <a:endParaRPr lang="en-US" sz="1574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60160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hf sldNum="0" hdr="0" dt="0"/>
  <p:txStyles>
    <p:titleStyle>
      <a:lvl1pPr algn="l" defTabSz="979688" rtl="0" eaLnBrk="1" latinLnBrk="0" hangingPunct="1">
        <a:lnSpc>
          <a:spcPct val="90000"/>
        </a:lnSpc>
        <a:spcBef>
          <a:spcPct val="0"/>
        </a:spcBef>
        <a:buNone/>
        <a:defRPr sz="471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44922" indent="-244922" algn="l" defTabSz="979688" rtl="0" eaLnBrk="1" latinLnBrk="0" hangingPunct="1">
        <a:lnSpc>
          <a:spcPct val="90000"/>
        </a:lnSpc>
        <a:spcBef>
          <a:spcPts val="1071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734766" indent="-244922" algn="l" defTabSz="979688" rtl="0" eaLnBrk="1" latinLnBrk="0" hangingPunct="1">
        <a:lnSpc>
          <a:spcPct val="90000"/>
        </a:lnSpc>
        <a:spcBef>
          <a:spcPts val="536"/>
        </a:spcBef>
        <a:buFont typeface="Arial" panose="020B0604020202020204" pitchFamily="34" charset="0"/>
        <a:buChar char="•"/>
        <a:defRPr sz="2571" kern="1200">
          <a:solidFill>
            <a:schemeClr val="tx1"/>
          </a:solidFill>
          <a:latin typeface="+mn-lt"/>
          <a:ea typeface="+mn-ea"/>
          <a:cs typeface="+mn-cs"/>
        </a:defRPr>
      </a:lvl2pPr>
      <a:lvl3pPr marL="1224610" indent="-244922" algn="l" defTabSz="979688" rtl="0" eaLnBrk="1" latinLnBrk="0" hangingPunct="1">
        <a:lnSpc>
          <a:spcPct val="90000"/>
        </a:lnSpc>
        <a:spcBef>
          <a:spcPts val="536"/>
        </a:spcBef>
        <a:buFont typeface="Arial" panose="020B0604020202020204" pitchFamily="34" charset="0"/>
        <a:buChar char="•"/>
        <a:defRPr sz="2143" kern="1200">
          <a:solidFill>
            <a:schemeClr val="tx1"/>
          </a:solidFill>
          <a:latin typeface="+mn-lt"/>
          <a:ea typeface="+mn-ea"/>
          <a:cs typeface="+mn-cs"/>
        </a:defRPr>
      </a:lvl3pPr>
      <a:lvl4pPr marL="1714454" indent="-244922" algn="l" defTabSz="979688" rtl="0" eaLnBrk="1" latinLnBrk="0" hangingPunct="1">
        <a:lnSpc>
          <a:spcPct val="90000"/>
        </a:lnSpc>
        <a:spcBef>
          <a:spcPts val="536"/>
        </a:spcBef>
        <a:buFont typeface="Arial" panose="020B0604020202020204" pitchFamily="34" charset="0"/>
        <a:buChar char="•"/>
        <a:defRPr sz="1929" kern="1200">
          <a:solidFill>
            <a:schemeClr val="tx1"/>
          </a:solidFill>
          <a:latin typeface="+mn-lt"/>
          <a:ea typeface="+mn-ea"/>
          <a:cs typeface="+mn-cs"/>
        </a:defRPr>
      </a:lvl4pPr>
      <a:lvl5pPr marL="2204298" indent="-244922" algn="l" defTabSz="979688" rtl="0" eaLnBrk="1" latinLnBrk="0" hangingPunct="1">
        <a:lnSpc>
          <a:spcPct val="90000"/>
        </a:lnSpc>
        <a:spcBef>
          <a:spcPts val="536"/>
        </a:spcBef>
        <a:buFont typeface="Arial" panose="020B0604020202020204" pitchFamily="34" charset="0"/>
        <a:buChar char="•"/>
        <a:defRPr sz="1929" kern="1200">
          <a:solidFill>
            <a:schemeClr val="tx1"/>
          </a:solidFill>
          <a:latin typeface="+mn-lt"/>
          <a:ea typeface="+mn-ea"/>
          <a:cs typeface="+mn-cs"/>
        </a:defRPr>
      </a:lvl5pPr>
      <a:lvl6pPr marL="2694142" indent="-244922" algn="l" defTabSz="979688" rtl="0" eaLnBrk="1" latinLnBrk="0" hangingPunct="1">
        <a:lnSpc>
          <a:spcPct val="90000"/>
        </a:lnSpc>
        <a:spcBef>
          <a:spcPts val="536"/>
        </a:spcBef>
        <a:buFont typeface="Arial" panose="020B0604020202020204" pitchFamily="34" charset="0"/>
        <a:buChar char="•"/>
        <a:defRPr sz="1929" kern="1200">
          <a:solidFill>
            <a:schemeClr val="tx1"/>
          </a:solidFill>
          <a:latin typeface="+mn-lt"/>
          <a:ea typeface="+mn-ea"/>
          <a:cs typeface="+mn-cs"/>
        </a:defRPr>
      </a:lvl6pPr>
      <a:lvl7pPr marL="3183987" indent="-244922" algn="l" defTabSz="979688" rtl="0" eaLnBrk="1" latinLnBrk="0" hangingPunct="1">
        <a:lnSpc>
          <a:spcPct val="90000"/>
        </a:lnSpc>
        <a:spcBef>
          <a:spcPts val="536"/>
        </a:spcBef>
        <a:buFont typeface="Arial" panose="020B0604020202020204" pitchFamily="34" charset="0"/>
        <a:buChar char="•"/>
        <a:defRPr sz="1929" kern="1200">
          <a:solidFill>
            <a:schemeClr val="tx1"/>
          </a:solidFill>
          <a:latin typeface="+mn-lt"/>
          <a:ea typeface="+mn-ea"/>
          <a:cs typeface="+mn-cs"/>
        </a:defRPr>
      </a:lvl7pPr>
      <a:lvl8pPr marL="3673831" indent="-244922" algn="l" defTabSz="979688" rtl="0" eaLnBrk="1" latinLnBrk="0" hangingPunct="1">
        <a:lnSpc>
          <a:spcPct val="90000"/>
        </a:lnSpc>
        <a:spcBef>
          <a:spcPts val="536"/>
        </a:spcBef>
        <a:buFont typeface="Arial" panose="020B0604020202020204" pitchFamily="34" charset="0"/>
        <a:buChar char="•"/>
        <a:defRPr sz="1929" kern="1200">
          <a:solidFill>
            <a:schemeClr val="tx1"/>
          </a:solidFill>
          <a:latin typeface="+mn-lt"/>
          <a:ea typeface="+mn-ea"/>
          <a:cs typeface="+mn-cs"/>
        </a:defRPr>
      </a:lvl8pPr>
      <a:lvl9pPr marL="4163675" indent="-244922" algn="l" defTabSz="979688" rtl="0" eaLnBrk="1" latinLnBrk="0" hangingPunct="1">
        <a:lnSpc>
          <a:spcPct val="90000"/>
        </a:lnSpc>
        <a:spcBef>
          <a:spcPts val="536"/>
        </a:spcBef>
        <a:buFont typeface="Arial" panose="020B0604020202020204" pitchFamily="34" charset="0"/>
        <a:buChar char="•"/>
        <a:defRPr sz="192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9688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1pPr>
      <a:lvl2pPr marL="489844" algn="l" defTabSz="979688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2pPr>
      <a:lvl3pPr marL="979688" algn="l" defTabSz="979688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3pPr>
      <a:lvl4pPr marL="1469532" algn="l" defTabSz="979688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4pPr>
      <a:lvl5pPr marL="1959376" algn="l" defTabSz="979688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5pPr>
      <a:lvl6pPr marL="2449220" algn="l" defTabSz="979688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6pPr>
      <a:lvl7pPr marL="2939064" algn="l" defTabSz="979688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7pPr>
      <a:lvl8pPr marL="3428909" algn="l" defTabSz="979688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8pPr>
      <a:lvl9pPr marL="3918753" algn="l" defTabSz="979688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F485E86-629B-4AAC-9204-E4DE5BE8FC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9" name="think-cell Slide" r:id="rId15" imgW="470" imgH="469" progId="TCLayout.ActiveDocument.1">
                  <p:embed/>
                </p:oleObj>
              </mc:Choice>
              <mc:Fallback>
                <p:oleObj name="think-cell Slide" r:id="rId1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4F14A4D-9EA3-4897-B8F9-6FAD6317D4CC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733" b="1" dirty="0">
              <a:solidFill>
                <a:srgbClr val="1A1446"/>
              </a:solidFill>
              <a:cs typeface="Arial" panose="020B0604020202020204" pitchFamily="34" charset="0"/>
              <a:sym typeface="Roboto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44548"/>
            <a:ext cx="11582400" cy="1117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291746"/>
            <a:ext cx="11582400" cy="499717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Rectangle 29"/>
          <p:cNvSpPr>
            <a:spLocks noChangeArrowheads="1"/>
          </p:cNvSpPr>
          <p:nvPr userDrawn="1"/>
        </p:nvSpPr>
        <p:spPr bwMode="ltGray">
          <a:xfrm>
            <a:off x="8940800" y="6375400"/>
            <a:ext cx="3251200" cy="482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pPr algn="ctr" eaLnBrk="0" fontAlgn="base" hangingPunct="0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</a:pPr>
            <a:endParaRPr lang="en-US" sz="1333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9" name="Rectangle 29"/>
          <p:cNvSpPr>
            <a:spLocks noChangeArrowheads="1"/>
          </p:cNvSpPr>
          <p:nvPr userDrawn="1"/>
        </p:nvSpPr>
        <p:spPr bwMode="ltGray">
          <a:xfrm>
            <a:off x="0" y="6375400"/>
            <a:ext cx="8940800" cy="4826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pPr algn="ctr" eaLnBrk="0" fontAlgn="base" hangingPunct="0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</a:pPr>
            <a:endParaRPr lang="en-US" sz="1333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161492" y="6485383"/>
            <a:ext cx="349775" cy="2319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eaLnBrk="0" fontAlgn="base" hangingPunct="0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</a:pPr>
            <a:fld id="{2F0E0454-92CF-4A52-8378-7A841E208F12}" type="slidenum">
              <a:rPr lang="en-US" sz="1067" smtClean="0">
                <a:solidFill>
                  <a:srgbClr val="FFFFFF"/>
                </a:solidFill>
                <a:latin typeface="Arial" charset="0"/>
                <a:cs typeface="Arial" charset="0"/>
              </a:rPr>
              <a:pPr algn="r" eaLnBrk="0" fontAlgn="base" hangingPunct="0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1067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422400" y="6485383"/>
            <a:ext cx="6096000" cy="23192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0" fontAlgn="base" hangingPunct="0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</a:pPr>
            <a:r>
              <a:rPr lang="en-US" sz="1067" dirty="0">
                <a:solidFill>
                  <a:srgbClr val="FFFFFF"/>
                </a:solidFill>
                <a:ea typeface="Calibri" panose="020F0502020204030204" pitchFamily="34" charset="0"/>
                <a:cs typeface="Arial" charset="0"/>
              </a:rPr>
              <a:t>Confidential &amp; Proprietary – Not for Distribution</a:t>
            </a:r>
            <a:endParaRPr lang="en-US" sz="1067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672"/>
          <a:stretch/>
        </p:blipFill>
        <p:spPr>
          <a:xfrm>
            <a:off x="10224459" y="6404631"/>
            <a:ext cx="911424" cy="407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637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</p:sldLayoutIdLst>
  <p:hf sldNum="0" hdr="0" ftr="0" dt="0"/>
  <p:txStyles>
    <p:titleStyle>
      <a:lvl1pPr algn="l" defTabSz="1219170" rtl="0" eaLnBrk="1" latinLnBrk="0" hangingPunct="1">
        <a:spcBef>
          <a:spcPct val="0"/>
        </a:spcBef>
        <a:buNone/>
        <a:defRPr sz="3733" b="1" kern="1200">
          <a:solidFill>
            <a:schemeClr val="tx2"/>
          </a:solidFill>
          <a:latin typeface="+mj-lt"/>
          <a:ea typeface="+mj-ea"/>
          <a:cs typeface="Arial" pitchFamily="34" charset="0"/>
        </a:defRPr>
      </a:lvl1pPr>
    </p:titleStyle>
    <p:bodyStyle>
      <a:lvl1pPr marL="260344" indent="-260344" algn="l" defTabSz="1219170" rtl="0" eaLnBrk="1" latinLnBrk="0" hangingPunct="1">
        <a:spcBef>
          <a:spcPct val="20000"/>
        </a:spcBef>
        <a:buClr>
          <a:schemeClr val="tx2"/>
        </a:buClr>
        <a:buSzPct val="90000"/>
        <a:buFont typeface="Wingdings 2" panose="05020102010507070707" pitchFamily="18" charset="2"/>
        <a:buChar char=""/>
        <a:tabLst>
          <a:tab pos="609585" algn="l"/>
        </a:tabLst>
        <a:defRPr sz="2933" kern="1200">
          <a:solidFill>
            <a:schemeClr val="tx1"/>
          </a:solidFill>
          <a:latin typeface="+mj-lt"/>
          <a:ea typeface="+mn-ea"/>
          <a:cs typeface="Arial" pitchFamily="34" charset="0"/>
        </a:defRPr>
      </a:lvl1pPr>
      <a:lvl2pPr marL="541853" indent="-270927" algn="l" defTabSz="1219170" rtl="0" eaLnBrk="1" latinLnBrk="0" hangingPunct="1">
        <a:spcBef>
          <a:spcPct val="20000"/>
        </a:spcBef>
        <a:buClr>
          <a:schemeClr val="tx2"/>
        </a:buClr>
        <a:buFont typeface="Arial" panose="020B0604020202020204" pitchFamily="34" charset="0"/>
        <a:buChar char="−"/>
        <a:tabLst/>
        <a:defRPr sz="2667" kern="1200">
          <a:solidFill>
            <a:schemeClr val="tx1"/>
          </a:solidFill>
          <a:latin typeface="+mj-lt"/>
          <a:ea typeface="+mn-ea"/>
          <a:cs typeface="Arial" pitchFamily="34" charset="0"/>
        </a:defRPr>
      </a:lvl2pPr>
      <a:lvl3pPr marL="711182" indent="-179913" algn="l" defTabSz="1219170" rtl="0" eaLnBrk="1" latinLnBrk="0" hangingPunct="1">
        <a:spcBef>
          <a:spcPct val="20000"/>
        </a:spcBef>
        <a:buClr>
          <a:schemeClr val="tx2"/>
        </a:buClr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+mj-lt"/>
          <a:ea typeface="+mn-ea"/>
          <a:cs typeface="Arial" pitchFamily="34" charset="0"/>
        </a:defRPr>
      </a:lvl3pPr>
      <a:lvl4pPr marL="992693" indent="-213779" algn="l" defTabSz="1219170" rtl="0" eaLnBrk="1" latinLnBrk="0" hangingPunct="1">
        <a:spcBef>
          <a:spcPct val="20000"/>
        </a:spcBef>
        <a:buClr>
          <a:schemeClr val="tx2"/>
        </a:buClr>
        <a:buFont typeface="Arial" panose="020B0604020202020204" pitchFamily="34" charset="0"/>
        <a:buChar char="−"/>
        <a:tabLst/>
        <a:defRPr sz="2133" kern="1200">
          <a:solidFill>
            <a:schemeClr val="tx1"/>
          </a:solidFill>
          <a:latin typeface="+mj-lt"/>
          <a:ea typeface="+mn-ea"/>
          <a:cs typeface="Arial" pitchFamily="34" charset="0"/>
        </a:defRPr>
      </a:lvl4pPr>
      <a:lvl5pPr marL="1174721" indent="-182029" algn="l" defTabSz="1219170" rtl="0" eaLnBrk="1" latinLnBrk="0" hangingPunct="1">
        <a:spcBef>
          <a:spcPct val="20000"/>
        </a:spcBef>
        <a:buClr>
          <a:schemeClr val="tx2"/>
        </a:buClr>
        <a:buFont typeface="Arial" panose="020B0604020202020204" pitchFamily="34" charset="0"/>
        <a:buChar char="•"/>
        <a:tabLst>
          <a:tab pos="609585" algn="l"/>
        </a:tabLst>
        <a:defRPr sz="2133" kern="1200">
          <a:solidFill>
            <a:schemeClr val="tx1"/>
          </a:solidFill>
          <a:latin typeface="+mj-lt"/>
          <a:ea typeface="+mn-ea"/>
          <a:cs typeface="Arial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jp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13" Type="http://schemas.openxmlformats.org/officeDocument/2006/relationships/image" Target="../media/image29.png"/><Relationship Id="rId3" Type="http://schemas.openxmlformats.org/officeDocument/2006/relationships/image" Target="../media/image19.jpeg"/><Relationship Id="rId7" Type="http://schemas.openxmlformats.org/officeDocument/2006/relationships/image" Target="../media/image23.jpeg"/><Relationship Id="rId12" Type="http://schemas.openxmlformats.org/officeDocument/2006/relationships/image" Target="../media/image28.jpg"/><Relationship Id="rId2" Type="http://schemas.openxmlformats.org/officeDocument/2006/relationships/image" Target="../media/image18.jpeg"/><Relationship Id="rId16" Type="http://schemas.openxmlformats.org/officeDocument/2006/relationships/image" Target="../media/image32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2.jpeg"/><Relationship Id="rId11" Type="http://schemas.openxmlformats.org/officeDocument/2006/relationships/image" Target="../media/image27.jpeg"/><Relationship Id="rId5" Type="http://schemas.openxmlformats.org/officeDocument/2006/relationships/image" Target="../media/image21.png"/><Relationship Id="rId15" Type="http://schemas.openxmlformats.org/officeDocument/2006/relationships/image" Target="../media/image31.png"/><Relationship Id="rId10" Type="http://schemas.openxmlformats.org/officeDocument/2006/relationships/image" Target="../media/image26.png"/><Relationship Id="rId4" Type="http://schemas.openxmlformats.org/officeDocument/2006/relationships/image" Target="../media/image20.jpeg"/><Relationship Id="rId9" Type="http://schemas.openxmlformats.org/officeDocument/2006/relationships/image" Target="../media/image25.png"/><Relationship Id="rId14" Type="http://schemas.openxmlformats.org/officeDocument/2006/relationships/image" Target="../media/image30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emf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154" y="949199"/>
            <a:ext cx="11388537" cy="4220277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2518814" y="5390797"/>
            <a:ext cx="6946132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r>
              <a:rPr lang="en-US" sz="3200" b="1" dirty="0"/>
              <a:t>Employee Benefits : </a:t>
            </a:r>
            <a:r>
              <a:rPr lang="en-US" sz="3200" b="1" dirty="0" smtClean="0"/>
              <a:t>Marsh Facility</a:t>
            </a:r>
            <a:endParaRPr lang="en-US" sz="3200" b="1" dirty="0"/>
          </a:p>
        </p:txBody>
      </p:sp>
    </p:spTree>
    <p:extLst>
      <p:ext uri="{BB962C8B-B14F-4D97-AF65-F5344CB8AC3E}">
        <p14:creationId xmlns:p14="http://schemas.microsoft.com/office/powerpoint/2010/main" val="2795682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787735" y="2695699"/>
            <a:ext cx="42962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3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0878899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lang="en-US" sz="2400" b="1" dirty="0">
              <a:solidFill>
                <a:srgbClr val="1A1446"/>
              </a:solidFill>
              <a:cs typeface="Arial" panose="020B0604020202020204" pitchFamily="34" charset="0"/>
              <a:sym typeface="Roboto" panose="0200000000000000000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4726" y="196454"/>
            <a:ext cx="11074400" cy="487363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osed Value Proposition for </a:t>
            </a: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lt;500 Lives Marsh Facility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0000000-0008-0000-0100-000017000000}"/>
              </a:ext>
            </a:extLst>
          </p:cNvPr>
          <p:cNvSpPr/>
          <p:nvPr/>
        </p:nvSpPr>
        <p:spPr>
          <a:xfrm>
            <a:off x="314793" y="1499117"/>
            <a:ext cx="3924234" cy="4587648"/>
          </a:xfrm>
          <a:prstGeom prst="rect">
            <a:avLst/>
          </a:prstGeom>
          <a:solidFill>
            <a:schemeClr val="bg2"/>
          </a:solidFill>
          <a:ln w="19050">
            <a:solidFill>
              <a:sysClr val="windowText" lastClr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n-IN" sz="1600" b="1" dirty="0" smtClean="0">
                <a:solidFill>
                  <a:srgbClr val="3437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pped to market and will be competitive w.r.t. Other partners in facility.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n-IN" sz="1600" b="1" dirty="0" smtClean="0">
                <a:solidFill>
                  <a:srgbClr val="3437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e are adopting a dynamic approach and based on portfolio LR will keep fine tuning</a:t>
            </a:r>
            <a:endParaRPr lang="en-IN" sz="1600" b="1" dirty="0">
              <a:solidFill>
                <a:srgbClr val="34374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0000000-0008-0000-0100-000018000000}"/>
              </a:ext>
            </a:extLst>
          </p:cNvPr>
          <p:cNvSpPr/>
          <p:nvPr/>
        </p:nvSpPr>
        <p:spPr>
          <a:xfrm>
            <a:off x="4296177" y="1443038"/>
            <a:ext cx="3886200" cy="4587648"/>
          </a:xfrm>
          <a:prstGeom prst="rect">
            <a:avLst/>
          </a:prstGeom>
          <a:solidFill>
            <a:schemeClr val="bg2"/>
          </a:solidFill>
          <a:ln w="19050">
            <a:solidFill>
              <a:sysClr val="windowText" lastClr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n-IN" sz="1600" b="1" dirty="0" smtClean="0">
                <a:solidFill>
                  <a:srgbClr val="3437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alth 360 to be mandatory.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n-IN" sz="1600" b="1" dirty="0" smtClean="0">
                <a:solidFill>
                  <a:srgbClr val="3437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00</a:t>
            </a:r>
            <a:r>
              <a:rPr lang="en-IN" sz="1600" b="1" dirty="0">
                <a:solidFill>
                  <a:srgbClr val="3437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% Electronic claims </a:t>
            </a:r>
            <a:r>
              <a:rPr lang="en-IN" sz="1600" b="1" dirty="0" smtClean="0">
                <a:solidFill>
                  <a:srgbClr val="3437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cessing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n-IN" sz="1600" b="1" dirty="0" smtClean="0">
                <a:solidFill>
                  <a:srgbClr val="3437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newal Letter to be sent a month in advance which will have all the value propositions in detail. ( Sample shall be shared separately)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n-IN" sz="1600" b="1" dirty="0" smtClean="0">
                <a:solidFill>
                  <a:srgbClr val="3437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65 days claims support.</a:t>
            </a:r>
            <a:endParaRPr lang="en-IN" sz="1600" b="1" dirty="0">
              <a:solidFill>
                <a:srgbClr val="34374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n-IN" sz="1600" b="1" dirty="0">
                <a:solidFill>
                  <a:srgbClr val="3437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dio video welcome deck.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n-IN" sz="1600" b="1" dirty="0">
                <a:solidFill>
                  <a:srgbClr val="3437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rizontal escalation matrix.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n-IN" sz="1600" b="1" dirty="0">
                <a:solidFill>
                  <a:srgbClr val="3437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press claim settlement.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n-IN" sz="1600" b="1" dirty="0">
                <a:solidFill>
                  <a:srgbClr val="3437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rporate on boarding program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n-IN" sz="1600" b="1" dirty="0">
                <a:solidFill>
                  <a:srgbClr val="3437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irtual corporate help desk.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n-IN" sz="1600" b="1" dirty="0">
                <a:solidFill>
                  <a:srgbClr val="3437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I backed claims process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000000-0008-0000-0100-000019000000}"/>
              </a:ext>
            </a:extLst>
          </p:cNvPr>
          <p:cNvSpPr/>
          <p:nvPr/>
        </p:nvSpPr>
        <p:spPr>
          <a:xfrm>
            <a:off x="8287153" y="1443038"/>
            <a:ext cx="3600048" cy="4587648"/>
          </a:xfrm>
          <a:prstGeom prst="rect">
            <a:avLst/>
          </a:prstGeom>
          <a:solidFill>
            <a:schemeClr val="bg2"/>
          </a:solidFill>
          <a:ln w="19050">
            <a:solidFill>
              <a:sysClr val="windowText" lastClr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n-US" sz="1600" b="1" dirty="0">
                <a:solidFill>
                  <a:srgbClr val="3437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plimentary Plan (Basic Health check ups: Height, Weight, BMI, RBS, Blood Pressure, Eye checkup) – </a:t>
            </a:r>
          </a:p>
          <a:p>
            <a:pPr marL="628650" lvl="1" indent="-171450">
              <a:spcBef>
                <a:spcPts val="600"/>
              </a:spcBef>
              <a:buFont typeface="Courier New" panose="02070309020205020404" pitchFamily="49" charset="0"/>
              <a:buChar char="o"/>
              <a:defRPr/>
            </a:pPr>
            <a:r>
              <a:rPr lang="en-US" sz="1600" dirty="0">
                <a:solidFill>
                  <a:srgbClr val="3437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ebinars:3 p.a.</a:t>
            </a:r>
          </a:p>
          <a:p>
            <a:pPr marL="628650" lvl="1" indent="-171450">
              <a:spcBef>
                <a:spcPts val="600"/>
              </a:spcBef>
              <a:buFont typeface="Courier New" panose="02070309020205020404" pitchFamily="49" charset="0"/>
              <a:buChar char="o"/>
              <a:defRPr/>
            </a:pPr>
            <a:r>
              <a:rPr lang="en-US" sz="1600" dirty="0">
                <a:solidFill>
                  <a:srgbClr val="3437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nline consultation : 50 </a:t>
            </a:r>
            <a:r>
              <a:rPr lang="en-US" sz="1600" dirty="0" smtClean="0">
                <a:solidFill>
                  <a:srgbClr val="3437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sultations </a:t>
            </a:r>
            <a:r>
              <a:rPr lang="en-US" sz="1600" dirty="0">
                <a:solidFill>
                  <a:srgbClr val="3437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.a. per corporate</a:t>
            </a:r>
          </a:p>
          <a:p>
            <a:pPr marL="628650" lvl="1" indent="-171450">
              <a:spcBef>
                <a:spcPts val="600"/>
              </a:spcBef>
              <a:buFont typeface="Courier New" panose="02070309020205020404" pitchFamily="49" charset="0"/>
              <a:buChar char="o"/>
              <a:defRPr/>
            </a:pPr>
            <a:r>
              <a:rPr lang="en-US" sz="1600" dirty="0">
                <a:solidFill>
                  <a:srgbClr val="3437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sistance for </a:t>
            </a:r>
            <a:r>
              <a:rPr lang="en-US" sz="1600" dirty="0" err="1">
                <a:solidFill>
                  <a:srgbClr val="3437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vid</a:t>
            </a:r>
            <a:r>
              <a:rPr lang="en-US" sz="1600" dirty="0">
                <a:solidFill>
                  <a:srgbClr val="3437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vaccination</a:t>
            </a:r>
            <a:r>
              <a:rPr lang="en-US" sz="1600" dirty="0" smtClean="0">
                <a:solidFill>
                  <a:srgbClr val="3437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</a:t>
            </a:r>
          </a:p>
          <a:p>
            <a:pPr marL="628650" lvl="1" indent="-171450">
              <a:spcBef>
                <a:spcPts val="600"/>
              </a:spcBef>
              <a:buFont typeface="Courier New" panose="02070309020205020404" pitchFamily="49" charset="0"/>
              <a:buChar char="o"/>
              <a:defRPr/>
            </a:pPr>
            <a:r>
              <a:rPr lang="en-US" sz="1600" dirty="0" smtClean="0">
                <a:solidFill>
                  <a:srgbClr val="3437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sistance in surgery</a:t>
            </a:r>
            <a:endParaRPr lang="en-US" sz="1600" dirty="0">
              <a:solidFill>
                <a:srgbClr val="34374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0000000-0008-0000-0100-00001A000000}"/>
              </a:ext>
            </a:extLst>
          </p:cNvPr>
          <p:cNvSpPr/>
          <p:nvPr/>
        </p:nvSpPr>
        <p:spPr>
          <a:xfrm>
            <a:off x="314726" y="957263"/>
            <a:ext cx="3929063" cy="485775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600"/>
              </a:spcBef>
              <a:defRPr/>
            </a:pPr>
            <a:r>
              <a:rPr lang="en-US" sz="1600" b="1" dirty="0" smtClean="0">
                <a:solidFill>
                  <a:srgbClr val="3437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icing</a:t>
            </a:r>
            <a:endParaRPr lang="en-US" sz="1600" b="1" dirty="0">
              <a:solidFill>
                <a:srgbClr val="34374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0000000-0008-0000-0100-00001B000000}"/>
              </a:ext>
            </a:extLst>
          </p:cNvPr>
          <p:cNvSpPr/>
          <p:nvPr/>
        </p:nvSpPr>
        <p:spPr>
          <a:xfrm>
            <a:off x="4296177" y="957263"/>
            <a:ext cx="3886200" cy="485775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600"/>
              </a:spcBef>
              <a:defRPr/>
            </a:pPr>
            <a:r>
              <a:rPr lang="en-US" sz="1500" b="1" dirty="0" smtClean="0">
                <a:solidFill>
                  <a:srgbClr val="3437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ps &amp; Claims Value Proposition</a:t>
            </a:r>
            <a:endParaRPr lang="en-US" sz="1500" b="1" dirty="0">
              <a:solidFill>
                <a:srgbClr val="34374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0000000-0008-0000-0100-00001C000000}"/>
              </a:ext>
            </a:extLst>
          </p:cNvPr>
          <p:cNvSpPr/>
          <p:nvPr/>
        </p:nvSpPr>
        <p:spPr>
          <a:xfrm>
            <a:off x="8287153" y="957263"/>
            <a:ext cx="3585030" cy="485775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600"/>
              </a:spcBef>
              <a:defRPr/>
            </a:pPr>
            <a:r>
              <a:rPr lang="en-US" sz="1500" b="1" dirty="0">
                <a:solidFill>
                  <a:srgbClr val="34374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smtClean="0">
                <a:solidFill>
                  <a:srgbClr val="34374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llness</a:t>
            </a:r>
            <a:endParaRPr lang="en-US" sz="1600" b="1" dirty="0">
              <a:solidFill>
                <a:srgbClr val="34374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67501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lang="en-US" sz="2400" b="1" dirty="0">
              <a:solidFill>
                <a:srgbClr val="1A1446"/>
              </a:solidFill>
              <a:cs typeface="Arial" panose="020B0604020202020204" pitchFamily="34" charset="0"/>
              <a:sym typeface="Roboto" panose="0200000000000000000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4726" y="196454"/>
            <a:ext cx="11074400" cy="487363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osed Value </a:t>
            </a: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osition for &gt;500 Lives Marsh Facility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0000000-0008-0000-0100-000017000000}"/>
              </a:ext>
            </a:extLst>
          </p:cNvPr>
          <p:cNvSpPr/>
          <p:nvPr/>
        </p:nvSpPr>
        <p:spPr>
          <a:xfrm>
            <a:off x="314793" y="1443038"/>
            <a:ext cx="3924234" cy="4587648"/>
          </a:xfrm>
          <a:prstGeom prst="rect">
            <a:avLst/>
          </a:prstGeom>
          <a:solidFill>
            <a:schemeClr val="bg2"/>
          </a:solidFill>
          <a:ln w="19050">
            <a:solidFill>
              <a:sysClr val="windowText" lastClr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n-IN" sz="1600" b="1" dirty="0" smtClean="0">
                <a:solidFill>
                  <a:srgbClr val="3437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e continue to have case to case pricing for the segment based on underwriting guidelines applicable at the time of renewal/rollover.</a:t>
            </a:r>
            <a:endParaRPr lang="en-IN" sz="1600" b="1" dirty="0">
              <a:solidFill>
                <a:srgbClr val="34374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0000000-0008-0000-0100-000018000000}"/>
              </a:ext>
            </a:extLst>
          </p:cNvPr>
          <p:cNvSpPr/>
          <p:nvPr/>
        </p:nvSpPr>
        <p:spPr>
          <a:xfrm>
            <a:off x="4296177" y="1443038"/>
            <a:ext cx="3886200" cy="4587648"/>
          </a:xfrm>
          <a:prstGeom prst="rect">
            <a:avLst/>
          </a:prstGeom>
          <a:solidFill>
            <a:schemeClr val="bg2"/>
          </a:solidFill>
          <a:ln w="19050">
            <a:solidFill>
              <a:sysClr val="windowText" lastClr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n-IN" sz="1600" b="1" dirty="0" smtClean="0">
                <a:solidFill>
                  <a:srgbClr val="3437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Fixed TAT’s for policy issuance and endorsements.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n-IN" sz="1600" b="1" dirty="0" smtClean="0">
                <a:solidFill>
                  <a:srgbClr val="3437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reen channel initiative for select few clients.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n-IN" sz="1600" b="1" dirty="0" smtClean="0">
                <a:solidFill>
                  <a:srgbClr val="3437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uarterly review of claims/servicing with broker/TPA &amp; clients.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endParaRPr lang="en-IN" sz="1400" b="1" dirty="0">
              <a:solidFill>
                <a:srgbClr val="34374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000000-0008-0000-0100-000019000000}"/>
              </a:ext>
            </a:extLst>
          </p:cNvPr>
          <p:cNvSpPr/>
          <p:nvPr/>
        </p:nvSpPr>
        <p:spPr>
          <a:xfrm>
            <a:off x="8287153" y="1443038"/>
            <a:ext cx="3600048" cy="4587648"/>
          </a:xfrm>
          <a:prstGeom prst="rect">
            <a:avLst/>
          </a:prstGeom>
          <a:solidFill>
            <a:schemeClr val="bg2"/>
          </a:solidFill>
          <a:ln w="19050">
            <a:solidFill>
              <a:sysClr val="windowText" lastClr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n-US" sz="1600" b="1" dirty="0" smtClean="0">
                <a:solidFill>
                  <a:srgbClr val="3437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plimentary Plan (Basic Health check ups: Height, Weight, BMI, RBS, Blood Pressure, Eye checkup) – </a:t>
            </a:r>
          </a:p>
          <a:p>
            <a:pPr marL="628650" lvl="1" indent="-171450">
              <a:spcBef>
                <a:spcPts val="600"/>
              </a:spcBef>
              <a:buFont typeface="Courier New" panose="02070309020205020404" pitchFamily="49" charset="0"/>
              <a:buChar char="o"/>
              <a:defRPr/>
            </a:pPr>
            <a:r>
              <a:rPr lang="en-US" sz="1600" dirty="0" smtClean="0">
                <a:solidFill>
                  <a:srgbClr val="3437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ebinars:3 p.a.</a:t>
            </a:r>
          </a:p>
          <a:p>
            <a:pPr marL="628650" lvl="1" indent="-171450">
              <a:spcBef>
                <a:spcPts val="600"/>
              </a:spcBef>
              <a:buFont typeface="Courier New" panose="02070309020205020404" pitchFamily="49" charset="0"/>
              <a:buChar char="o"/>
              <a:defRPr/>
            </a:pPr>
            <a:r>
              <a:rPr lang="en-US" sz="1600" dirty="0" smtClean="0">
                <a:solidFill>
                  <a:srgbClr val="3437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nline consultation : 50  </a:t>
            </a:r>
          </a:p>
          <a:p>
            <a:pPr marL="628650" lvl="1" indent="-171450">
              <a:spcBef>
                <a:spcPts val="600"/>
              </a:spcBef>
              <a:buFont typeface="Courier New" panose="02070309020205020404" pitchFamily="49" charset="0"/>
              <a:buChar char="o"/>
              <a:defRPr/>
            </a:pPr>
            <a:r>
              <a:rPr lang="en-US" sz="1600" dirty="0" smtClean="0">
                <a:solidFill>
                  <a:srgbClr val="3437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sultations p.a. per corporate</a:t>
            </a:r>
          </a:p>
          <a:p>
            <a:pPr marL="628650" lvl="1" indent="-171450">
              <a:spcBef>
                <a:spcPts val="600"/>
              </a:spcBef>
              <a:buFont typeface="Courier New" panose="02070309020205020404" pitchFamily="49" charset="0"/>
              <a:buChar char="o"/>
              <a:defRPr/>
            </a:pPr>
            <a:r>
              <a:rPr lang="en-US" sz="1600" dirty="0" smtClean="0">
                <a:solidFill>
                  <a:srgbClr val="3437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sistance for </a:t>
            </a:r>
            <a:r>
              <a:rPr lang="en-US" sz="1600" dirty="0" err="1" smtClean="0">
                <a:solidFill>
                  <a:srgbClr val="3437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vid</a:t>
            </a:r>
            <a:r>
              <a:rPr lang="en-US" sz="1600" dirty="0" smtClean="0">
                <a:solidFill>
                  <a:srgbClr val="3437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vaccination, Surgery</a:t>
            </a:r>
            <a:endParaRPr lang="en-US" sz="1600" dirty="0">
              <a:solidFill>
                <a:srgbClr val="34374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lvl="0" indent="-171450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n-US" sz="1600" b="1" dirty="0">
                <a:solidFill>
                  <a:srgbClr val="3437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 carte wellness which can be chosen on selection basis. </a:t>
            </a:r>
          </a:p>
          <a:p>
            <a:pPr marL="171450" lvl="0" indent="-171450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n-US" sz="1600" b="1" dirty="0">
                <a:solidFill>
                  <a:srgbClr val="3437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xed wellness calendar to be religiously followed.</a:t>
            </a:r>
          </a:p>
          <a:p>
            <a:pPr marL="628650" lvl="1" indent="-171450">
              <a:spcBef>
                <a:spcPts val="600"/>
              </a:spcBef>
              <a:buFont typeface="Courier New" panose="02070309020205020404" pitchFamily="49" charset="0"/>
              <a:buChar char="o"/>
              <a:defRPr/>
            </a:pPr>
            <a:endParaRPr lang="en-US" sz="1200" dirty="0">
              <a:solidFill>
                <a:srgbClr val="34374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0000000-0008-0000-0100-00001A000000}"/>
              </a:ext>
            </a:extLst>
          </p:cNvPr>
          <p:cNvSpPr/>
          <p:nvPr/>
        </p:nvSpPr>
        <p:spPr>
          <a:xfrm>
            <a:off x="314726" y="957263"/>
            <a:ext cx="3929063" cy="485775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600"/>
              </a:spcBef>
              <a:defRPr/>
            </a:pPr>
            <a:r>
              <a:rPr lang="en-US" sz="1600" b="1" dirty="0" smtClean="0">
                <a:solidFill>
                  <a:srgbClr val="3437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icing</a:t>
            </a:r>
            <a:endParaRPr lang="en-US" sz="1600" b="1" dirty="0">
              <a:solidFill>
                <a:srgbClr val="34374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0000000-0008-0000-0100-00001B000000}"/>
              </a:ext>
            </a:extLst>
          </p:cNvPr>
          <p:cNvSpPr/>
          <p:nvPr/>
        </p:nvSpPr>
        <p:spPr>
          <a:xfrm>
            <a:off x="4296177" y="957263"/>
            <a:ext cx="3886200" cy="485775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600"/>
              </a:spcBef>
              <a:defRPr/>
            </a:pPr>
            <a:r>
              <a:rPr lang="en-US" sz="1600" b="1" dirty="0" smtClean="0">
                <a:solidFill>
                  <a:srgbClr val="34374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cing</a:t>
            </a:r>
            <a:endParaRPr lang="en-US" sz="1600" b="1" dirty="0">
              <a:solidFill>
                <a:srgbClr val="34374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0000000-0008-0000-0100-00001C000000}"/>
              </a:ext>
            </a:extLst>
          </p:cNvPr>
          <p:cNvSpPr/>
          <p:nvPr/>
        </p:nvSpPr>
        <p:spPr>
          <a:xfrm>
            <a:off x="8287153" y="957263"/>
            <a:ext cx="3585030" cy="485775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600"/>
              </a:spcBef>
              <a:defRPr/>
            </a:pPr>
            <a:r>
              <a:rPr lang="en-US" sz="1500" b="1" dirty="0">
                <a:solidFill>
                  <a:srgbClr val="34374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smtClean="0">
                <a:solidFill>
                  <a:srgbClr val="3437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ellness</a:t>
            </a:r>
            <a:endParaRPr lang="en-US" sz="1600" b="1" dirty="0">
              <a:solidFill>
                <a:srgbClr val="34374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80085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709273" y="1702"/>
          <a:ext cx="1701" cy="17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09273" y="1702"/>
                        <a:ext cx="1701" cy="17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7599" y="2426431"/>
            <a:ext cx="2651456" cy="1037066"/>
          </a:xfrm>
        </p:spPr>
        <p:txBody>
          <a:bodyPr anchor="ctr"/>
          <a:lstStyle/>
          <a:p>
            <a:pPr algn="l"/>
            <a:r>
              <a:rPr lang="en-US" sz="4286" dirty="0">
                <a:latin typeface="Calibri" panose="020F0502020204030204" pitchFamily="34" charset="0"/>
                <a:ea typeface="Roboto" panose="02000000000000000000" pitchFamily="2" charset="0"/>
                <a:cs typeface="Calibri" panose="020F0502020204030204" pitchFamily="34" charset="0"/>
              </a:rPr>
              <a:t>Wellnes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38163" y="3562213"/>
            <a:ext cx="2831565" cy="379419"/>
          </a:xfrm>
        </p:spPr>
        <p:txBody>
          <a:bodyPr/>
          <a:lstStyle/>
          <a:p>
            <a:r>
              <a:rPr lang="en-US" sz="2143" dirty="0">
                <a:latin typeface="Calibri" panose="020F0502020204030204" pitchFamily="34" charset="0"/>
                <a:ea typeface="Roboto" panose="02000000000000000000" pitchFamily="2" charset="0"/>
                <a:cs typeface="Calibri" panose="020F0502020204030204" pitchFamily="34" charset="0"/>
              </a:rPr>
              <a:t>Liberty Health 360</a:t>
            </a:r>
          </a:p>
          <a:p>
            <a:endParaRPr lang="en-US" sz="2143" dirty="0">
              <a:latin typeface="Roboto" panose="02000000000000000000" pitchFamily="2" charset="0"/>
              <a:ea typeface="Roboto" panose="02000000000000000000" pitchFamily="2" charset="0"/>
            </a:endParaRPr>
          </a:p>
          <a:p>
            <a:endParaRPr lang="en-US" sz="2143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37067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EF7181BD-E91E-4156-8432-84C695174E95}"/>
              </a:ext>
            </a:extLst>
          </p:cNvPr>
          <p:cNvGrpSpPr/>
          <p:nvPr/>
        </p:nvGrpSpPr>
        <p:grpSpPr>
          <a:xfrm>
            <a:off x="1155673" y="1651713"/>
            <a:ext cx="9814480" cy="3128766"/>
            <a:chOff x="-38972" y="1968909"/>
            <a:chExt cx="9160181" cy="2920182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F712E918-E496-436F-9D6B-0222757ECF3A}"/>
                </a:ext>
              </a:extLst>
            </p:cNvPr>
            <p:cNvSpPr/>
            <p:nvPr/>
          </p:nvSpPr>
          <p:spPr bwMode="auto">
            <a:xfrm>
              <a:off x="6165046" y="2385406"/>
              <a:ext cx="2956163" cy="861616"/>
            </a:xfrm>
            <a:prstGeom prst="roundRect">
              <a:avLst>
                <a:gd name="adj" fmla="val 50000"/>
              </a:avLst>
            </a:prstGeom>
            <a:solidFill>
              <a:srgbClr val="1A1446"/>
            </a:solidFill>
            <a:ln>
              <a:noFill/>
            </a:ln>
          </p:spPr>
          <p:txBody>
            <a:bodyPr vert="horz" wrap="square" lIns="97971" tIns="48986" rIns="97971" bIns="48986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500" dirty="0">
                <a:latin typeface="Roboto"/>
              </a:endParaRPr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E8351848-6DCD-40C7-86A2-1A3134C137CD}"/>
                </a:ext>
              </a:extLst>
            </p:cNvPr>
            <p:cNvSpPr/>
            <p:nvPr/>
          </p:nvSpPr>
          <p:spPr bwMode="auto">
            <a:xfrm>
              <a:off x="-38972" y="2385406"/>
              <a:ext cx="3103659" cy="861616"/>
            </a:xfrm>
            <a:prstGeom prst="roundRect">
              <a:avLst>
                <a:gd name="adj" fmla="val 50000"/>
              </a:avLst>
            </a:prstGeom>
            <a:solidFill>
              <a:srgbClr val="1A1446"/>
            </a:solidFill>
            <a:ln>
              <a:noFill/>
            </a:ln>
          </p:spPr>
          <p:txBody>
            <a:bodyPr vert="horz" wrap="square" lIns="97971" tIns="48986" rIns="97971" bIns="48986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500" dirty="0">
                <a:latin typeface="Roboto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07EA8CA8-6C1A-4FF6-A3EB-4C4794B36504}"/>
                </a:ext>
              </a:extLst>
            </p:cNvPr>
            <p:cNvSpPr/>
            <p:nvPr/>
          </p:nvSpPr>
          <p:spPr>
            <a:xfrm>
              <a:off x="431075" y="2643859"/>
              <a:ext cx="2275044" cy="344710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spcAft>
                  <a:spcPts val="536"/>
                </a:spcAft>
              </a:pPr>
              <a:r>
                <a:rPr lang="en-US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Health check up</a:t>
              </a:r>
              <a:r>
                <a:rPr lang="en-US" sz="1714" b="1" dirty="0">
                  <a:solidFill>
                    <a:schemeClr val="bg1"/>
                  </a:solidFill>
                  <a:latin typeface="Roboto"/>
                </a:rPr>
                <a:t>  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EFB87351-ADA4-4365-A4C6-5FDA403BF584}"/>
                </a:ext>
              </a:extLst>
            </p:cNvPr>
            <p:cNvSpPr/>
            <p:nvPr/>
          </p:nvSpPr>
          <p:spPr>
            <a:xfrm>
              <a:off x="1611452" y="3860156"/>
              <a:ext cx="1562039" cy="36326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r">
                <a:spcAft>
                  <a:spcPts val="536"/>
                </a:spcAft>
              </a:pPr>
              <a:endParaRPr lang="en-US" sz="1929" b="1" dirty="0">
                <a:solidFill>
                  <a:schemeClr val="bg1"/>
                </a:solidFill>
                <a:latin typeface="Roboto"/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B3B87093-890C-459A-9702-DF71350BE0F2}"/>
                </a:ext>
              </a:extLst>
            </p:cNvPr>
            <p:cNvSpPr/>
            <p:nvPr/>
          </p:nvSpPr>
          <p:spPr bwMode="auto">
            <a:xfrm>
              <a:off x="3123162" y="2167767"/>
              <a:ext cx="2920182" cy="2522466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63500" sx="107000" sy="107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7971" tIns="48986" rIns="97971" bIns="48986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500" dirty="0">
                <a:latin typeface="Roboto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413C5957-5821-4139-914D-F20B61CDAFB3}"/>
                </a:ext>
              </a:extLst>
            </p:cNvPr>
            <p:cNvSpPr/>
            <p:nvPr/>
          </p:nvSpPr>
          <p:spPr bwMode="auto">
            <a:xfrm>
              <a:off x="3110265" y="1968909"/>
              <a:ext cx="2920182" cy="2920182"/>
            </a:xfrm>
            <a:prstGeom prst="ellipse">
              <a:avLst/>
            </a:prstGeom>
            <a:solidFill>
              <a:srgbClr val="FFD000"/>
            </a:solidFill>
            <a:ln>
              <a:noFill/>
            </a:ln>
          </p:spPr>
          <p:txBody>
            <a:bodyPr vert="horz" wrap="square" lIns="97971" tIns="48986" rIns="97971" bIns="48986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500" dirty="0">
                <a:latin typeface="Roboto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243B0F6-CEC6-49C3-9FAB-9EFADE9A2192}"/>
                </a:ext>
              </a:extLst>
            </p:cNvPr>
            <p:cNvSpPr/>
            <p:nvPr/>
          </p:nvSpPr>
          <p:spPr>
            <a:xfrm>
              <a:off x="3464389" y="3042707"/>
              <a:ext cx="2237728" cy="45542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Aft>
                  <a:spcPts val="536"/>
                </a:spcAft>
              </a:pPr>
              <a:r>
                <a:rPr lang="en-US" sz="2571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Health 360</a:t>
              </a:r>
              <a:r>
                <a:rPr lang="en-US" sz="2571" b="1" dirty="0">
                  <a:solidFill>
                    <a:schemeClr val="bg1"/>
                  </a:solidFill>
                </a:rPr>
                <a:t> </a:t>
              </a: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C4B952F6-FECB-452A-9FD7-3208B20C95B9}"/>
                </a:ext>
              </a:extLst>
            </p:cNvPr>
            <p:cNvSpPr/>
            <p:nvPr/>
          </p:nvSpPr>
          <p:spPr bwMode="auto">
            <a:xfrm>
              <a:off x="3231967" y="2077714"/>
              <a:ext cx="2702572" cy="2702572"/>
            </a:xfrm>
            <a:prstGeom prst="ellipse">
              <a:avLst/>
            </a:prstGeom>
            <a:noFill/>
            <a:ln w="19050">
              <a:solidFill>
                <a:schemeClr val="bg1"/>
              </a:solidFill>
              <a:prstDash val="dash"/>
            </a:ln>
          </p:spPr>
          <p:txBody>
            <a:bodyPr vert="horz" wrap="square" lIns="97971" tIns="48986" rIns="97971" bIns="48986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500">
                <a:latin typeface="Roboto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4ADA57F-27A5-43C8-A3D3-AA6E134C191F}"/>
                </a:ext>
              </a:extLst>
            </p:cNvPr>
            <p:cNvSpPr/>
            <p:nvPr/>
          </p:nvSpPr>
          <p:spPr>
            <a:xfrm>
              <a:off x="6616934" y="2643859"/>
              <a:ext cx="2244102" cy="344710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spcAft>
                  <a:spcPts val="536"/>
                </a:spcAft>
              </a:pPr>
              <a:r>
                <a:rPr lang="en-US" sz="1714" b="1" dirty="0" smtClean="0">
                  <a:solidFill>
                    <a:schemeClr val="bg1"/>
                  </a:solidFill>
                  <a:latin typeface="Roboto"/>
                </a:rPr>
                <a:t>     </a:t>
              </a:r>
              <a:r>
                <a:rPr lang="en-US" b="1" dirty="0" smtClean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nline consultation</a:t>
              </a:r>
              <a:endParaRPr lang="en-US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17" name="Graphic 6">
              <a:extLst>
                <a:ext uri="{FF2B5EF4-FFF2-40B4-BE49-F238E27FC236}">
                  <a16:creationId xmlns:a16="http://schemas.microsoft.com/office/drawing/2014/main" id="{D25E8AE4-41AA-4E16-812C-5C4F551623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96539" y="3825790"/>
              <a:ext cx="246301" cy="337399"/>
              <a:chOff x="2556665" y="4377422"/>
              <a:chExt cx="410501" cy="562331"/>
            </a:xfrm>
            <a:solidFill>
              <a:schemeClr val="bg1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D346FDAD-FF00-477A-8217-783FBADA4FA2}"/>
                  </a:ext>
                </a:extLst>
              </p:cNvPr>
              <p:cNvSpPr/>
              <p:nvPr/>
            </p:nvSpPr>
            <p:spPr>
              <a:xfrm>
                <a:off x="2750075" y="4377422"/>
                <a:ext cx="28124" cy="28125"/>
              </a:xfrm>
              <a:custGeom>
                <a:avLst/>
                <a:gdLst>
                  <a:gd name="connsiteX0" fmla="*/ 24005 w 28124"/>
                  <a:gd name="connsiteY0" fmla="*/ 4120 h 28125"/>
                  <a:gd name="connsiteX1" fmla="*/ 14062 w 28124"/>
                  <a:gd name="connsiteY1" fmla="*/ 0 h 28125"/>
                  <a:gd name="connsiteX2" fmla="*/ 4120 w 28124"/>
                  <a:gd name="connsiteY2" fmla="*/ 4120 h 28125"/>
                  <a:gd name="connsiteX3" fmla="*/ 0 w 28124"/>
                  <a:gd name="connsiteY3" fmla="*/ 14063 h 28125"/>
                  <a:gd name="connsiteX4" fmla="*/ 4120 w 28124"/>
                  <a:gd name="connsiteY4" fmla="*/ 24003 h 28125"/>
                  <a:gd name="connsiteX5" fmla="*/ 14062 w 28124"/>
                  <a:gd name="connsiteY5" fmla="*/ 28125 h 28125"/>
                  <a:gd name="connsiteX6" fmla="*/ 24005 w 28124"/>
                  <a:gd name="connsiteY6" fmla="*/ 24003 h 28125"/>
                  <a:gd name="connsiteX7" fmla="*/ 28125 w 28124"/>
                  <a:gd name="connsiteY7" fmla="*/ 14063 h 28125"/>
                  <a:gd name="connsiteX8" fmla="*/ 24005 w 28124"/>
                  <a:gd name="connsiteY8" fmla="*/ 4120 h 28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124" h="28125">
                    <a:moveTo>
                      <a:pt x="24005" y="4120"/>
                    </a:moveTo>
                    <a:cubicBezTo>
                      <a:pt x="21389" y="1505"/>
                      <a:pt x="17761" y="0"/>
                      <a:pt x="14062" y="0"/>
                    </a:cubicBezTo>
                    <a:cubicBezTo>
                      <a:pt x="10364" y="0"/>
                      <a:pt x="6736" y="1503"/>
                      <a:pt x="4120" y="4120"/>
                    </a:cubicBezTo>
                    <a:cubicBezTo>
                      <a:pt x="1505" y="6737"/>
                      <a:pt x="0" y="10364"/>
                      <a:pt x="0" y="14063"/>
                    </a:cubicBezTo>
                    <a:cubicBezTo>
                      <a:pt x="0" y="17761"/>
                      <a:pt x="1505" y="21389"/>
                      <a:pt x="4120" y="24003"/>
                    </a:cubicBezTo>
                    <a:cubicBezTo>
                      <a:pt x="6736" y="26620"/>
                      <a:pt x="10364" y="28125"/>
                      <a:pt x="14062" y="28125"/>
                    </a:cubicBezTo>
                    <a:cubicBezTo>
                      <a:pt x="17761" y="28125"/>
                      <a:pt x="21375" y="26620"/>
                      <a:pt x="24005" y="24003"/>
                    </a:cubicBezTo>
                    <a:cubicBezTo>
                      <a:pt x="26620" y="21389"/>
                      <a:pt x="28125" y="17761"/>
                      <a:pt x="28125" y="14063"/>
                    </a:cubicBezTo>
                    <a:cubicBezTo>
                      <a:pt x="28125" y="10364"/>
                      <a:pt x="26620" y="6736"/>
                      <a:pt x="24005" y="4120"/>
                    </a:cubicBezTo>
                    <a:close/>
                  </a:path>
                </a:pathLst>
              </a:custGeom>
              <a:grpFill/>
              <a:ln w="13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500">
                  <a:latin typeface="Roboto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D64B878E-0738-4ADD-87FB-5401CFF40699}"/>
                  </a:ext>
                </a:extLst>
              </p:cNvPr>
              <p:cNvSpPr/>
              <p:nvPr/>
            </p:nvSpPr>
            <p:spPr>
              <a:xfrm>
                <a:off x="2556665" y="4855378"/>
                <a:ext cx="84375" cy="84375"/>
              </a:xfrm>
              <a:custGeom>
                <a:avLst/>
                <a:gdLst>
                  <a:gd name="connsiteX0" fmla="*/ 42188 w 84375"/>
                  <a:gd name="connsiteY0" fmla="*/ 0 h 84375"/>
                  <a:gd name="connsiteX1" fmla="*/ 0 w 84375"/>
                  <a:gd name="connsiteY1" fmla="*/ 42188 h 84375"/>
                  <a:gd name="connsiteX2" fmla="*/ 42188 w 84375"/>
                  <a:gd name="connsiteY2" fmla="*/ 84375 h 84375"/>
                  <a:gd name="connsiteX3" fmla="*/ 84375 w 84375"/>
                  <a:gd name="connsiteY3" fmla="*/ 42188 h 84375"/>
                  <a:gd name="connsiteX4" fmla="*/ 42188 w 84375"/>
                  <a:gd name="connsiteY4" fmla="*/ 0 h 84375"/>
                  <a:gd name="connsiteX5" fmla="*/ 42188 w 84375"/>
                  <a:gd name="connsiteY5" fmla="*/ 56250 h 84375"/>
                  <a:gd name="connsiteX6" fmla="*/ 28125 w 84375"/>
                  <a:gd name="connsiteY6" fmla="*/ 42188 h 84375"/>
                  <a:gd name="connsiteX7" fmla="*/ 42188 w 84375"/>
                  <a:gd name="connsiteY7" fmla="*/ 28125 h 84375"/>
                  <a:gd name="connsiteX8" fmla="*/ 56250 w 84375"/>
                  <a:gd name="connsiteY8" fmla="*/ 42188 h 84375"/>
                  <a:gd name="connsiteX9" fmla="*/ 42188 w 84375"/>
                  <a:gd name="connsiteY9" fmla="*/ 56250 h 84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4375" h="84375">
                    <a:moveTo>
                      <a:pt x="42188" y="0"/>
                    </a:moveTo>
                    <a:cubicBezTo>
                      <a:pt x="18925" y="0"/>
                      <a:pt x="0" y="18925"/>
                      <a:pt x="0" y="42188"/>
                    </a:cubicBezTo>
                    <a:cubicBezTo>
                      <a:pt x="0" y="65450"/>
                      <a:pt x="18925" y="84375"/>
                      <a:pt x="42188" y="84375"/>
                    </a:cubicBezTo>
                    <a:cubicBezTo>
                      <a:pt x="65450" y="84375"/>
                      <a:pt x="84375" y="65450"/>
                      <a:pt x="84375" y="42188"/>
                    </a:cubicBezTo>
                    <a:cubicBezTo>
                      <a:pt x="84375" y="18925"/>
                      <a:pt x="65450" y="0"/>
                      <a:pt x="42188" y="0"/>
                    </a:cubicBezTo>
                    <a:close/>
                    <a:moveTo>
                      <a:pt x="42188" y="56250"/>
                    </a:moveTo>
                    <a:cubicBezTo>
                      <a:pt x="34433" y="56250"/>
                      <a:pt x="28125" y="49942"/>
                      <a:pt x="28125" y="42188"/>
                    </a:cubicBezTo>
                    <a:cubicBezTo>
                      <a:pt x="28125" y="34433"/>
                      <a:pt x="34433" y="28125"/>
                      <a:pt x="42188" y="28125"/>
                    </a:cubicBezTo>
                    <a:cubicBezTo>
                      <a:pt x="49942" y="28125"/>
                      <a:pt x="56250" y="34433"/>
                      <a:pt x="56250" y="42188"/>
                    </a:cubicBezTo>
                    <a:cubicBezTo>
                      <a:pt x="56250" y="49942"/>
                      <a:pt x="49942" y="56250"/>
                      <a:pt x="42188" y="56250"/>
                    </a:cubicBezTo>
                    <a:close/>
                  </a:path>
                </a:pathLst>
              </a:custGeom>
              <a:grpFill/>
              <a:ln w="13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500">
                  <a:latin typeface="Roboto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A84AED0-60D5-4553-AB1A-9188463D3674}"/>
                  </a:ext>
                </a:extLst>
              </p:cNvPr>
              <p:cNvSpPr/>
              <p:nvPr/>
            </p:nvSpPr>
            <p:spPr>
              <a:xfrm>
                <a:off x="2882791" y="4855378"/>
                <a:ext cx="84375" cy="84375"/>
              </a:xfrm>
              <a:custGeom>
                <a:avLst/>
                <a:gdLst>
                  <a:gd name="connsiteX0" fmla="*/ 42188 w 84375"/>
                  <a:gd name="connsiteY0" fmla="*/ 0 h 84375"/>
                  <a:gd name="connsiteX1" fmla="*/ 0 w 84375"/>
                  <a:gd name="connsiteY1" fmla="*/ 42188 h 84375"/>
                  <a:gd name="connsiteX2" fmla="*/ 42188 w 84375"/>
                  <a:gd name="connsiteY2" fmla="*/ 84375 h 84375"/>
                  <a:gd name="connsiteX3" fmla="*/ 84375 w 84375"/>
                  <a:gd name="connsiteY3" fmla="*/ 42188 h 84375"/>
                  <a:gd name="connsiteX4" fmla="*/ 42188 w 84375"/>
                  <a:gd name="connsiteY4" fmla="*/ 0 h 84375"/>
                  <a:gd name="connsiteX5" fmla="*/ 42188 w 84375"/>
                  <a:gd name="connsiteY5" fmla="*/ 56250 h 84375"/>
                  <a:gd name="connsiteX6" fmla="*/ 28125 w 84375"/>
                  <a:gd name="connsiteY6" fmla="*/ 42188 h 84375"/>
                  <a:gd name="connsiteX7" fmla="*/ 42188 w 84375"/>
                  <a:gd name="connsiteY7" fmla="*/ 28125 h 84375"/>
                  <a:gd name="connsiteX8" fmla="*/ 56250 w 84375"/>
                  <a:gd name="connsiteY8" fmla="*/ 42188 h 84375"/>
                  <a:gd name="connsiteX9" fmla="*/ 42188 w 84375"/>
                  <a:gd name="connsiteY9" fmla="*/ 56250 h 84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4375" h="84375">
                    <a:moveTo>
                      <a:pt x="42188" y="0"/>
                    </a:moveTo>
                    <a:cubicBezTo>
                      <a:pt x="18925" y="0"/>
                      <a:pt x="0" y="18925"/>
                      <a:pt x="0" y="42188"/>
                    </a:cubicBezTo>
                    <a:cubicBezTo>
                      <a:pt x="0" y="65450"/>
                      <a:pt x="18925" y="84375"/>
                      <a:pt x="42188" y="84375"/>
                    </a:cubicBezTo>
                    <a:cubicBezTo>
                      <a:pt x="65450" y="84375"/>
                      <a:pt x="84375" y="65450"/>
                      <a:pt x="84375" y="42188"/>
                    </a:cubicBezTo>
                    <a:cubicBezTo>
                      <a:pt x="84375" y="18925"/>
                      <a:pt x="65450" y="0"/>
                      <a:pt x="42188" y="0"/>
                    </a:cubicBezTo>
                    <a:close/>
                    <a:moveTo>
                      <a:pt x="42188" y="56250"/>
                    </a:moveTo>
                    <a:cubicBezTo>
                      <a:pt x="34433" y="56250"/>
                      <a:pt x="28125" y="49942"/>
                      <a:pt x="28125" y="42188"/>
                    </a:cubicBezTo>
                    <a:cubicBezTo>
                      <a:pt x="28125" y="34433"/>
                      <a:pt x="34433" y="28125"/>
                      <a:pt x="42188" y="28125"/>
                    </a:cubicBezTo>
                    <a:cubicBezTo>
                      <a:pt x="49942" y="28125"/>
                      <a:pt x="56250" y="34433"/>
                      <a:pt x="56250" y="42188"/>
                    </a:cubicBezTo>
                    <a:cubicBezTo>
                      <a:pt x="56250" y="49942"/>
                      <a:pt x="49942" y="56250"/>
                      <a:pt x="42188" y="56250"/>
                    </a:cubicBezTo>
                    <a:close/>
                  </a:path>
                </a:pathLst>
              </a:custGeom>
              <a:grpFill/>
              <a:ln w="13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500">
                  <a:latin typeface="Roboto"/>
                </a:endParaRP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49FA469F-9019-4363-BC9F-0B52D89734A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024717" y="3897728"/>
              <a:ext cx="225945" cy="219227"/>
              <a:chOff x="6111908" y="4485847"/>
              <a:chExt cx="353045" cy="342543"/>
            </a:xfrm>
            <a:solidFill>
              <a:schemeClr val="bg1"/>
            </a:solidFill>
          </p:grpSpPr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1A6BBCC6-84FB-455F-A836-2ED4A0D900C6}"/>
                  </a:ext>
                </a:extLst>
              </p:cNvPr>
              <p:cNvSpPr/>
              <p:nvPr/>
            </p:nvSpPr>
            <p:spPr>
              <a:xfrm>
                <a:off x="6385746" y="4492852"/>
                <a:ext cx="79207" cy="79206"/>
              </a:xfrm>
              <a:custGeom>
                <a:avLst/>
                <a:gdLst>
                  <a:gd name="connsiteX0" fmla="*/ 73784 w 79207"/>
                  <a:gd name="connsiteY0" fmla="*/ 32047 h 79206"/>
                  <a:gd name="connsiteX1" fmla="*/ 53883 w 79207"/>
                  <a:gd name="connsiteY1" fmla="*/ 25323 h 79206"/>
                  <a:gd name="connsiteX2" fmla="*/ 47160 w 79207"/>
                  <a:gd name="connsiteY2" fmla="*/ 5424 h 79206"/>
                  <a:gd name="connsiteX3" fmla="*/ 39604 w 79207"/>
                  <a:gd name="connsiteY3" fmla="*/ 0 h 79206"/>
                  <a:gd name="connsiteX4" fmla="*/ 32047 w 79207"/>
                  <a:gd name="connsiteY4" fmla="*/ 5423 h 79206"/>
                  <a:gd name="connsiteX5" fmla="*/ 25323 w 79207"/>
                  <a:gd name="connsiteY5" fmla="*/ 25323 h 79206"/>
                  <a:gd name="connsiteX6" fmla="*/ 5423 w 79207"/>
                  <a:gd name="connsiteY6" fmla="*/ 32046 h 79206"/>
                  <a:gd name="connsiteX7" fmla="*/ 0 w 79207"/>
                  <a:gd name="connsiteY7" fmla="*/ 39602 h 79206"/>
                  <a:gd name="connsiteX8" fmla="*/ 5423 w 79207"/>
                  <a:gd name="connsiteY8" fmla="*/ 47159 h 79206"/>
                  <a:gd name="connsiteX9" fmla="*/ 25323 w 79207"/>
                  <a:gd name="connsiteY9" fmla="*/ 53882 h 79206"/>
                  <a:gd name="connsiteX10" fmla="*/ 32047 w 79207"/>
                  <a:gd name="connsiteY10" fmla="*/ 73783 h 79206"/>
                  <a:gd name="connsiteX11" fmla="*/ 39604 w 79207"/>
                  <a:gd name="connsiteY11" fmla="*/ 79206 h 79206"/>
                  <a:gd name="connsiteX12" fmla="*/ 47160 w 79207"/>
                  <a:gd name="connsiteY12" fmla="*/ 73783 h 79206"/>
                  <a:gd name="connsiteX13" fmla="*/ 53883 w 79207"/>
                  <a:gd name="connsiteY13" fmla="*/ 53883 h 79206"/>
                  <a:gd name="connsiteX14" fmla="*/ 73785 w 79207"/>
                  <a:gd name="connsiteY14" fmla="*/ 47159 h 79206"/>
                  <a:gd name="connsiteX15" fmla="*/ 79208 w 79207"/>
                  <a:gd name="connsiteY15" fmla="*/ 39603 h 79206"/>
                  <a:gd name="connsiteX16" fmla="*/ 73784 w 79207"/>
                  <a:gd name="connsiteY16" fmla="*/ 32047 h 79206"/>
                  <a:gd name="connsiteX17" fmla="*/ 48509 w 79207"/>
                  <a:gd name="connsiteY17" fmla="*/ 43507 h 79206"/>
                  <a:gd name="connsiteX18" fmla="*/ 43507 w 79207"/>
                  <a:gd name="connsiteY18" fmla="*/ 48511 h 79206"/>
                  <a:gd name="connsiteX19" fmla="*/ 39604 w 79207"/>
                  <a:gd name="connsiteY19" fmla="*/ 60064 h 79206"/>
                  <a:gd name="connsiteX20" fmla="*/ 35701 w 79207"/>
                  <a:gd name="connsiteY20" fmla="*/ 48512 h 79206"/>
                  <a:gd name="connsiteX21" fmla="*/ 30697 w 79207"/>
                  <a:gd name="connsiteY21" fmla="*/ 43507 h 79206"/>
                  <a:gd name="connsiteX22" fmla="*/ 19143 w 79207"/>
                  <a:gd name="connsiteY22" fmla="*/ 39604 h 79206"/>
                  <a:gd name="connsiteX23" fmla="*/ 30695 w 79207"/>
                  <a:gd name="connsiteY23" fmla="*/ 35700 h 79206"/>
                  <a:gd name="connsiteX24" fmla="*/ 35700 w 79207"/>
                  <a:gd name="connsiteY24" fmla="*/ 30697 h 79206"/>
                  <a:gd name="connsiteX25" fmla="*/ 39604 w 79207"/>
                  <a:gd name="connsiteY25" fmla="*/ 19143 h 79206"/>
                  <a:gd name="connsiteX26" fmla="*/ 43506 w 79207"/>
                  <a:gd name="connsiteY26" fmla="*/ 30695 h 79206"/>
                  <a:gd name="connsiteX27" fmla="*/ 48512 w 79207"/>
                  <a:gd name="connsiteY27" fmla="*/ 35700 h 79206"/>
                  <a:gd name="connsiteX28" fmla="*/ 60065 w 79207"/>
                  <a:gd name="connsiteY28" fmla="*/ 39604 h 79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9207" h="79206">
                    <a:moveTo>
                      <a:pt x="73784" y="32047"/>
                    </a:moveTo>
                    <a:lnTo>
                      <a:pt x="53883" y="25323"/>
                    </a:lnTo>
                    <a:lnTo>
                      <a:pt x="47160" y="5424"/>
                    </a:lnTo>
                    <a:cubicBezTo>
                      <a:pt x="46065" y="2181"/>
                      <a:pt x="43028" y="1"/>
                      <a:pt x="39604" y="0"/>
                    </a:cubicBezTo>
                    <a:cubicBezTo>
                      <a:pt x="36181" y="0"/>
                      <a:pt x="33142" y="2179"/>
                      <a:pt x="32047" y="5423"/>
                    </a:cubicBezTo>
                    <a:lnTo>
                      <a:pt x="25323" y="25323"/>
                    </a:lnTo>
                    <a:lnTo>
                      <a:pt x="5423" y="32046"/>
                    </a:lnTo>
                    <a:cubicBezTo>
                      <a:pt x="2179" y="33142"/>
                      <a:pt x="0" y="36179"/>
                      <a:pt x="0" y="39602"/>
                    </a:cubicBezTo>
                    <a:cubicBezTo>
                      <a:pt x="0" y="43026"/>
                      <a:pt x="2179" y="46064"/>
                      <a:pt x="5423" y="47159"/>
                    </a:cubicBezTo>
                    <a:lnTo>
                      <a:pt x="25323" y="53882"/>
                    </a:lnTo>
                    <a:lnTo>
                      <a:pt x="32047" y="73783"/>
                    </a:lnTo>
                    <a:cubicBezTo>
                      <a:pt x="33143" y="77027"/>
                      <a:pt x="36181" y="79206"/>
                      <a:pt x="39604" y="79206"/>
                    </a:cubicBezTo>
                    <a:cubicBezTo>
                      <a:pt x="43027" y="79206"/>
                      <a:pt x="46065" y="77025"/>
                      <a:pt x="47160" y="73783"/>
                    </a:cubicBezTo>
                    <a:lnTo>
                      <a:pt x="53883" y="53883"/>
                    </a:lnTo>
                    <a:lnTo>
                      <a:pt x="73785" y="47159"/>
                    </a:lnTo>
                    <a:cubicBezTo>
                      <a:pt x="77028" y="46064"/>
                      <a:pt x="79208" y="43027"/>
                      <a:pt x="79208" y="39603"/>
                    </a:cubicBezTo>
                    <a:cubicBezTo>
                      <a:pt x="79208" y="36179"/>
                      <a:pt x="77028" y="33142"/>
                      <a:pt x="73784" y="32047"/>
                    </a:cubicBezTo>
                    <a:close/>
                    <a:moveTo>
                      <a:pt x="48509" y="43507"/>
                    </a:moveTo>
                    <a:cubicBezTo>
                      <a:pt x="46168" y="44299"/>
                      <a:pt x="44297" y="46170"/>
                      <a:pt x="43507" y="48511"/>
                    </a:cubicBezTo>
                    <a:lnTo>
                      <a:pt x="39604" y="60064"/>
                    </a:lnTo>
                    <a:lnTo>
                      <a:pt x="35701" y="48512"/>
                    </a:lnTo>
                    <a:cubicBezTo>
                      <a:pt x="34910" y="46171"/>
                      <a:pt x="33040" y="44299"/>
                      <a:pt x="30697" y="43507"/>
                    </a:cubicBezTo>
                    <a:lnTo>
                      <a:pt x="19143" y="39604"/>
                    </a:lnTo>
                    <a:lnTo>
                      <a:pt x="30695" y="35700"/>
                    </a:lnTo>
                    <a:cubicBezTo>
                      <a:pt x="33038" y="34910"/>
                      <a:pt x="34910" y="33038"/>
                      <a:pt x="35700" y="30697"/>
                    </a:cubicBezTo>
                    <a:lnTo>
                      <a:pt x="39604" y="19143"/>
                    </a:lnTo>
                    <a:lnTo>
                      <a:pt x="43506" y="30695"/>
                    </a:lnTo>
                    <a:cubicBezTo>
                      <a:pt x="44297" y="33038"/>
                      <a:pt x="46169" y="34910"/>
                      <a:pt x="48512" y="35700"/>
                    </a:cubicBezTo>
                    <a:lnTo>
                      <a:pt x="60065" y="39604"/>
                    </a:lnTo>
                    <a:close/>
                  </a:path>
                </a:pathLst>
              </a:custGeom>
              <a:grpFill/>
              <a:ln w="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500">
                  <a:latin typeface="Roboto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5E26F298-9EAF-436E-961E-62E599E55CD0}"/>
                  </a:ext>
                </a:extLst>
              </p:cNvPr>
              <p:cNvSpPr/>
              <p:nvPr/>
            </p:nvSpPr>
            <p:spPr>
              <a:xfrm>
                <a:off x="6111908" y="4749184"/>
                <a:ext cx="79207" cy="79206"/>
              </a:xfrm>
              <a:custGeom>
                <a:avLst/>
                <a:gdLst>
                  <a:gd name="connsiteX0" fmla="*/ 73784 w 79207"/>
                  <a:gd name="connsiteY0" fmla="*/ 32047 h 79206"/>
                  <a:gd name="connsiteX1" fmla="*/ 53884 w 79207"/>
                  <a:gd name="connsiteY1" fmla="*/ 25324 h 79206"/>
                  <a:gd name="connsiteX2" fmla="*/ 47161 w 79207"/>
                  <a:gd name="connsiteY2" fmla="*/ 5423 h 79206"/>
                  <a:gd name="connsiteX3" fmla="*/ 39604 w 79207"/>
                  <a:gd name="connsiteY3" fmla="*/ 0 h 79206"/>
                  <a:gd name="connsiteX4" fmla="*/ 32047 w 79207"/>
                  <a:gd name="connsiteY4" fmla="*/ 5423 h 79206"/>
                  <a:gd name="connsiteX5" fmla="*/ 25324 w 79207"/>
                  <a:gd name="connsiteY5" fmla="*/ 25323 h 79206"/>
                  <a:gd name="connsiteX6" fmla="*/ 5423 w 79207"/>
                  <a:gd name="connsiteY6" fmla="*/ 32047 h 79206"/>
                  <a:gd name="connsiteX7" fmla="*/ 0 w 79207"/>
                  <a:gd name="connsiteY7" fmla="*/ 39603 h 79206"/>
                  <a:gd name="connsiteX8" fmla="*/ 5423 w 79207"/>
                  <a:gd name="connsiteY8" fmla="*/ 47159 h 79206"/>
                  <a:gd name="connsiteX9" fmla="*/ 25324 w 79207"/>
                  <a:gd name="connsiteY9" fmla="*/ 53883 h 79206"/>
                  <a:gd name="connsiteX10" fmla="*/ 32047 w 79207"/>
                  <a:gd name="connsiteY10" fmla="*/ 73782 h 79206"/>
                  <a:gd name="connsiteX11" fmla="*/ 39604 w 79207"/>
                  <a:gd name="connsiteY11" fmla="*/ 79206 h 79206"/>
                  <a:gd name="connsiteX12" fmla="*/ 47161 w 79207"/>
                  <a:gd name="connsiteY12" fmla="*/ 73783 h 79206"/>
                  <a:gd name="connsiteX13" fmla="*/ 53884 w 79207"/>
                  <a:gd name="connsiteY13" fmla="*/ 53883 h 79206"/>
                  <a:gd name="connsiteX14" fmla="*/ 73784 w 79207"/>
                  <a:gd name="connsiteY14" fmla="*/ 47159 h 79206"/>
                  <a:gd name="connsiteX15" fmla="*/ 79208 w 79207"/>
                  <a:gd name="connsiteY15" fmla="*/ 39603 h 79206"/>
                  <a:gd name="connsiteX16" fmla="*/ 73784 w 79207"/>
                  <a:gd name="connsiteY16" fmla="*/ 32047 h 79206"/>
                  <a:gd name="connsiteX17" fmla="*/ 48513 w 79207"/>
                  <a:gd name="connsiteY17" fmla="*/ 43508 h 79206"/>
                  <a:gd name="connsiteX18" fmla="*/ 43508 w 79207"/>
                  <a:gd name="connsiteY18" fmla="*/ 48512 h 79206"/>
                  <a:gd name="connsiteX19" fmla="*/ 39605 w 79207"/>
                  <a:gd name="connsiteY19" fmla="*/ 60066 h 79206"/>
                  <a:gd name="connsiteX20" fmla="*/ 35701 w 79207"/>
                  <a:gd name="connsiteY20" fmla="*/ 48512 h 79206"/>
                  <a:gd name="connsiteX21" fmla="*/ 30698 w 79207"/>
                  <a:gd name="connsiteY21" fmla="*/ 43508 h 79206"/>
                  <a:gd name="connsiteX22" fmla="*/ 19143 w 79207"/>
                  <a:gd name="connsiteY22" fmla="*/ 39605 h 79206"/>
                  <a:gd name="connsiteX23" fmla="*/ 30696 w 79207"/>
                  <a:gd name="connsiteY23" fmla="*/ 35701 h 79206"/>
                  <a:gd name="connsiteX24" fmla="*/ 35701 w 79207"/>
                  <a:gd name="connsiteY24" fmla="*/ 30697 h 79206"/>
                  <a:gd name="connsiteX25" fmla="*/ 39605 w 79207"/>
                  <a:gd name="connsiteY25" fmla="*/ 19143 h 79206"/>
                  <a:gd name="connsiteX26" fmla="*/ 43507 w 79207"/>
                  <a:gd name="connsiteY26" fmla="*/ 30696 h 79206"/>
                  <a:gd name="connsiteX27" fmla="*/ 48513 w 79207"/>
                  <a:gd name="connsiteY27" fmla="*/ 35701 h 79206"/>
                  <a:gd name="connsiteX28" fmla="*/ 60065 w 79207"/>
                  <a:gd name="connsiteY28" fmla="*/ 39605 h 79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79207" h="79206">
                    <a:moveTo>
                      <a:pt x="73784" y="32047"/>
                    </a:moveTo>
                    <a:lnTo>
                      <a:pt x="53884" y="25324"/>
                    </a:lnTo>
                    <a:lnTo>
                      <a:pt x="47161" y="5423"/>
                    </a:lnTo>
                    <a:cubicBezTo>
                      <a:pt x="46064" y="2179"/>
                      <a:pt x="43027" y="0"/>
                      <a:pt x="39604" y="0"/>
                    </a:cubicBezTo>
                    <a:cubicBezTo>
                      <a:pt x="36180" y="0"/>
                      <a:pt x="33142" y="2181"/>
                      <a:pt x="32047" y="5423"/>
                    </a:cubicBezTo>
                    <a:lnTo>
                      <a:pt x="25324" y="25323"/>
                    </a:lnTo>
                    <a:lnTo>
                      <a:pt x="5423" y="32047"/>
                    </a:lnTo>
                    <a:cubicBezTo>
                      <a:pt x="2179" y="33142"/>
                      <a:pt x="0" y="36179"/>
                      <a:pt x="0" y="39603"/>
                    </a:cubicBezTo>
                    <a:cubicBezTo>
                      <a:pt x="0" y="43027"/>
                      <a:pt x="2179" y="46064"/>
                      <a:pt x="5423" y="47159"/>
                    </a:cubicBezTo>
                    <a:lnTo>
                      <a:pt x="25324" y="53883"/>
                    </a:lnTo>
                    <a:lnTo>
                      <a:pt x="32047" y="73782"/>
                    </a:lnTo>
                    <a:cubicBezTo>
                      <a:pt x="33142" y="77025"/>
                      <a:pt x="36179" y="79205"/>
                      <a:pt x="39604" y="79206"/>
                    </a:cubicBezTo>
                    <a:cubicBezTo>
                      <a:pt x="43027" y="79206"/>
                      <a:pt x="46065" y="77027"/>
                      <a:pt x="47161" y="73783"/>
                    </a:cubicBezTo>
                    <a:lnTo>
                      <a:pt x="53884" y="53883"/>
                    </a:lnTo>
                    <a:lnTo>
                      <a:pt x="73784" y="47159"/>
                    </a:lnTo>
                    <a:cubicBezTo>
                      <a:pt x="77028" y="46064"/>
                      <a:pt x="79208" y="43027"/>
                      <a:pt x="79208" y="39603"/>
                    </a:cubicBezTo>
                    <a:cubicBezTo>
                      <a:pt x="79208" y="36179"/>
                      <a:pt x="77028" y="33143"/>
                      <a:pt x="73784" y="32047"/>
                    </a:cubicBezTo>
                    <a:close/>
                    <a:moveTo>
                      <a:pt x="48513" y="43508"/>
                    </a:moveTo>
                    <a:cubicBezTo>
                      <a:pt x="46170" y="44299"/>
                      <a:pt x="44299" y="46170"/>
                      <a:pt x="43508" y="48512"/>
                    </a:cubicBezTo>
                    <a:lnTo>
                      <a:pt x="39605" y="60066"/>
                    </a:lnTo>
                    <a:lnTo>
                      <a:pt x="35701" y="48512"/>
                    </a:lnTo>
                    <a:cubicBezTo>
                      <a:pt x="34910" y="46170"/>
                      <a:pt x="33039" y="44299"/>
                      <a:pt x="30698" y="43508"/>
                    </a:cubicBezTo>
                    <a:lnTo>
                      <a:pt x="19143" y="39605"/>
                    </a:lnTo>
                    <a:lnTo>
                      <a:pt x="30696" y="35701"/>
                    </a:lnTo>
                    <a:cubicBezTo>
                      <a:pt x="33039" y="34910"/>
                      <a:pt x="34911" y="33039"/>
                      <a:pt x="35701" y="30697"/>
                    </a:cubicBezTo>
                    <a:lnTo>
                      <a:pt x="39605" y="19143"/>
                    </a:lnTo>
                    <a:lnTo>
                      <a:pt x="43507" y="30696"/>
                    </a:lnTo>
                    <a:cubicBezTo>
                      <a:pt x="44298" y="33039"/>
                      <a:pt x="46170" y="34910"/>
                      <a:pt x="48513" y="35701"/>
                    </a:cubicBezTo>
                    <a:lnTo>
                      <a:pt x="60065" y="39605"/>
                    </a:lnTo>
                    <a:close/>
                  </a:path>
                </a:pathLst>
              </a:custGeom>
              <a:grpFill/>
              <a:ln w="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500">
                  <a:latin typeface="Roboto"/>
                </a:endParaRPr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A04EBFF8-DC35-4A11-BE66-99CEAB0027AC}"/>
                  </a:ext>
                </a:extLst>
              </p:cNvPr>
              <p:cNvSpPr/>
              <p:nvPr/>
            </p:nvSpPr>
            <p:spPr>
              <a:xfrm>
                <a:off x="6419574" y="4728620"/>
                <a:ext cx="11550" cy="22274"/>
              </a:xfrm>
              <a:custGeom>
                <a:avLst/>
                <a:gdLst>
                  <a:gd name="connsiteX0" fmla="*/ 5775 w 11550"/>
                  <a:gd name="connsiteY0" fmla="*/ 0 h 22274"/>
                  <a:gd name="connsiteX1" fmla="*/ 0 w 11550"/>
                  <a:gd name="connsiteY1" fmla="*/ 5775 h 22274"/>
                  <a:gd name="connsiteX2" fmla="*/ 0 w 11550"/>
                  <a:gd name="connsiteY2" fmla="*/ 16499 h 22274"/>
                  <a:gd name="connsiteX3" fmla="*/ 5775 w 11550"/>
                  <a:gd name="connsiteY3" fmla="*/ 22274 h 22274"/>
                  <a:gd name="connsiteX4" fmla="*/ 11551 w 11550"/>
                  <a:gd name="connsiteY4" fmla="*/ 16499 h 22274"/>
                  <a:gd name="connsiteX5" fmla="*/ 11551 w 11550"/>
                  <a:gd name="connsiteY5" fmla="*/ 5775 h 22274"/>
                  <a:gd name="connsiteX6" fmla="*/ 5775 w 11550"/>
                  <a:gd name="connsiteY6" fmla="*/ 0 h 222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550" h="22274">
                    <a:moveTo>
                      <a:pt x="5775" y="0"/>
                    </a:moveTo>
                    <a:cubicBezTo>
                      <a:pt x="2585" y="0"/>
                      <a:pt x="0" y="2586"/>
                      <a:pt x="0" y="5775"/>
                    </a:cubicBezTo>
                    <a:lnTo>
                      <a:pt x="0" y="16499"/>
                    </a:lnTo>
                    <a:cubicBezTo>
                      <a:pt x="0" y="19688"/>
                      <a:pt x="2585" y="22274"/>
                      <a:pt x="5775" y="22274"/>
                    </a:cubicBezTo>
                    <a:cubicBezTo>
                      <a:pt x="8966" y="22274"/>
                      <a:pt x="11551" y="19688"/>
                      <a:pt x="11551" y="16499"/>
                    </a:cubicBezTo>
                    <a:lnTo>
                      <a:pt x="11551" y="5775"/>
                    </a:lnTo>
                    <a:cubicBezTo>
                      <a:pt x="11551" y="2586"/>
                      <a:pt x="8965" y="0"/>
                      <a:pt x="5775" y="0"/>
                    </a:cubicBezTo>
                    <a:close/>
                  </a:path>
                </a:pathLst>
              </a:custGeom>
              <a:grpFill/>
              <a:ln w="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500">
                  <a:latin typeface="Roboto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1C309DB1-4D06-42C2-B688-3D19E3B70CFE}"/>
                  </a:ext>
                </a:extLst>
              </p:cNvPr>
              <p:cNvSpPr/>
              <p:nvPr/>
            </p:nvSpPr>
            <p:spPr>
              <a:xfrm>
                <a:off x="6419574" y="4767207"/>
                <a:ext cx="11550" cy="22274"/>
              </a:xfrm>
              <a:custGeom>
                <a:avLst/>
                <a:gdLst>
                  <a:gd name="connsiteX0" fmla="*/ 5775 w 11550"/>
                  <a:gd name="connsiteY0" fmla="*/ 0 h 22274"/>
                  <a:gd name="connsiteX1" fmla="*/ 0 w 11550"/>
                  <a:gd name="connsiteY1" fmla="*/ 5775 h 22274"/>
                  <a:gd name="connsiteX2" fmla="*/ 0 w 11550"/>
                  <a:gd name="connsiteY2" fmla="*/ 16499 h 22274"/>
                  <a:gd name="connsiteX3" fmla="*/ 5775 w 11550"/>
                  <a:gd name="connsiteY3" fmla="*/ 22274 h 22274"/>
                  <a:gd name="connsiteX4" fmla="*/ 11551 w 11550"/>
                  <a:gd name="connsiteY4" fmla="*/ 16499 h 22274"/>
                  <a:gd name="connsiteX5" fmla="*/ 11551 w 11550"/>
                  <a:gd name="connsiteY5" fmla="*/ 5775 h 22274"/>
                  <a:gd name="connsiteX6" fmla="*/ 5775 w 11550"/>
                  <a:gd name="connsiteY6" fmla="*/ 0 h 222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550" h="22274">
                    <a:moveTo>
                      <a:pt x="5775" y="0"/>
                    </a:moveTo>
                    <a:cubicBezTo>
                      <a:pt x="2585" y="0"/>
                      <a:pt x="0" y="2586"/>
                      <a:pt x="0" y="5775"/>
                    </a:cubicBezTo>
                    <a:lnTo>
                      <a:pt x="0" y="16499"/>
                    </a:lnTo>
                    <a:cubicBezTo>
                      <a:pt x="0" y="19688"/>
                      <a:pt x="2585" y="22274"/>
                      <a:pt x="5775" y="22274"/>
                    </a:cubicBezTo>
                    <a:cubicBezTo>
                      <a:pt x="8966" y="22274"/>
                      <a:pt x="11551" y="19688"/>
                      <a:pt x="11551" y="16499"/>
                    </a:cubicBezTo>
                    <a:lnTo>
                      <a:pt x="11551" y="5775"/>
                    </a:lnTo>
                    <a:cubicBezTo>
                      <a:pt x="11551" y="2586"/>
                      <a:pt x="8965" y="0"/>
                      <a:pt x="5775" y="0"/>
                    </a:cubicBezTo>
                    <a:close/>
                  </a:path>
                </a:pathLst>
              </a:custGeom>
              <a:grpFill/>
              <a:ln w="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500">
                  <a:latin typeface="Roboto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9DAB6550-DC75-404C-BB02-CFB29BE0EA77}"/>
                  </a:ext>
                </a:extLst>
              </p:cNvPr>
              <p:cNvSpPr/>
              <p:nvPr/>
            </p:nvSpPr>
            <p:spPr>
              <a:xfrm>
                <a:off x="6433506" y="4753275"/>
                <a:ext cx="22274" cy="11550"/>
              </a:xfrm>
              <a:custGeom>
                <a:avLst/>
                <a:gdLst>
                  <a:gd name="connsiteX0" fmla="*/ 16499 w 22274"/>
                  <a:gd name="connsiteY0" fmla="*/ 0 h 11550"/>
                  <a:gd name="connsiteX1" fmla="*/ 5775 w 22274"/>
                  <a:gd name="connsiteY1" fmla="*/ 0 h 11550"/>
                  <a:gd name="connsiteX2" fmla="*/ 0 w 22274"/>
                  <a:gd name="connsiteY2" fmla="*/ 5775 h 11550"/>
                  <a:gd name="connsiteX3" fmla="*/ 5775 w 22274"/>
                  <a:gd name="connsiteY3" fmla="*/ 11551 h 11550"/>
                  <a:gd name="connsiteX4" fmla="*/ 16499 w 22274"/>
                  <a:gd name="connsiteY4" fmla="*/ 11551 h 11550"/>
                  <a:gd name="connsiteX5" fmla="*/ 22274 w 22274"/>
                  <a:gd name="connsiteY5" fmla="*/ 5775 h 11550"/>
                  <a:gd name="connsiteX6" fmla="*/ 16499 w 22274"/>
                  <a:gd name="connsiteY6" fmla="*/ 0 h 11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274" h="11550">
                    <a:moveTo>
                      <a:pt x="16499" y="0"/>
                    </a:moveTo>
                    <a:lnTo>
                      <a:pt x="5775" y="0"/>
                    </a:lnTo>
                    <a:cubicBezTo>
                      <a:pt x="2585" y="0"/>
                      <a:pt x="0" y="2586"/>
                      <a:pt x="0" y="5775"/>
                    </a:cubicBezTo>
                    <a:cubicBezTo>
                      <a:pt x="0" y="8965"/>
                      <a:pt x="2585" y="11551"/>
                      <a:pt x="5775" y="11551"/>
                    </a:cubicBezTo>
                    <a:lnTo>
                      <a:pt x="16499" y="11551"/>
                    </a:lnTo>
                    <a:cubicBezTo>
                      <a:pt x="19689" y="11551"/>
                      <a:pt x="22274" y="8965"/>
                      <a:pt x="22274" y="5775"/>
                    </a:cubicBezTo>
                    <a:cubicBezTo>
                      <a:pt x="22274" y="2586"/>
                      <a:pt x="19689" y="0"/>
                      <a:pt x="16499" y="0"/>
                    </a:cubicBezTo>
                    <a:close/>
                  </a:path>
                </a:pathLst>
              </a:custGeom>
              <a:grpFill/>
              <a:ln w="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500">
                  <a:latin typeface="Roboto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6BECEB8E-1CE4-4737-A293-708BC56456CF}"/>
                  </a:ext>
                </a:extLst>
              </p:cNvPr>
              <p:cNvSpPr/>
              <p:nvPr/>
            </p:nvSpPr>
            <p:spPr>
              <a:xfrm>
                <a:off x="6394919" y="4753275"/>
                <a:ext cx="22274" cy="11550"/>
              </a:xfrm>
              <a:custGeom>
                <a:avLst/>
                <a:gdLst>
                  <a:gd name="connsiteX0" fmla="*/ 16499 w 22274"/>
                  <a:gd name="connsiteY0" fmla="*/ 0 h 11550"/>
                  <a:gd name="connsiteX1" fmla="*/ 5775 w 22274"/>
                  <a:gd name="connsiteY1" fmla="*/ 0 h 11550"/>
                  <a:gd name="connsiteX2" fmla="*/ 0 w 22274"/>
                  <a:gd name="connsiteY2" fmla="*/ 5775 h 11550"/>
                  <a:gd name="connsiteX3" fmla="*/ 5775 w 22274"/>
                  <a:gd name="connsiteY3" fmla="*/ 11551 h 11550"/>
                  <a:gd name="connsiteX4" fmla="*/ 16499 w 22274"/>
                  <a:gd name="connsiteY4" fmla="*/ 11551 h 11550"/>
                  <a:gd name="connsiteX5" fmla="*/ 22274 w 22274"/>
                  <a:gd name="connsiteY5" fmla="*/ 5775 h 11550"/>
                  <a:gd name="connsiteX6" fmla="*/ 16499 w 22274"/>
                  <a:gd name="connsiteY6" fmla="*/ 0 h 11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274" h="11550">
                    <a:moveTo>
                      <a:pt x="16499" y="0"/>
                    </a:moveTo>
                    <a:lnTo>
                      <a:pt x="5775" y="0"/>
                    </a:lnTo>
                    <a:cubicBezTo>
                      <a:pt x="2585" y="0"/>
                      <a:pt x="0" y="2586"/>
                      <a:pt x="0" y="5775"/>
                    </a:cubicBezTo>
                    <a:cubicBezTo>
                      <a:pt x="0" y="8965"/>
                      <a:pt x="2585" y="11551"/>
                      <a:pt x="5775" y="11551"/>
                    </a:cubicBezTo>
                    <a:lnTo>
                      <a:pt x="16499" y="11551"/>
                    </a:lnTo>
                    <a:cubicBezTo>
                      <a:pt x="19689" y="11551"/>
                      <a:pt x="22274" y="8965"/>
                      <a:pt x="22274" y="5775"/>
                    </a:cubicBezTo>
                    <a:cubicBezTo>
                      <a:pt x="22274" y="2586"/>
                      <a:pt x="19688" y="0"/>
                      <a:pt x="16499" y="0"/>
                    </a:cubicBezTo>
                    <a:close/>
                  </a:path>
                </a:pathLst>
              </a:custGeom>
              <a:grpFill/>
              <a:ln w="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500">
                  <a:latin typeface="Roboto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87486D83-6B68-40BD-ACC9-E63A0C1BAEFE}"/>
                  </a:ext>
                </a:extLst>
              </p:cNvPr>
              <p:cNvSpPr/>
              <p:nvPr/>
            </p:nvSpPr>
            <p:spPr>
              <a:xfrm>
                <a:off x="6170393" y="4485847"/>
                <a:ext cx="11550" cy="22274"/>
              </a:xfrm>
              <a:custGeom>
                <a:avLst/>
                <a:gdLst>
                  <a:gd name="connsiteX0" fmla="*/ 5775 w 11550"/>
                  <a:gd name="connsiteY0" fmla="*/ 22274 h 22274"/>
                  <a:gd name="connsiteX1" fmla="*/ 11551 w 11550"/>
                  <a:gd name="connsiteY1" fmla="*/ 16499 h 22274"/>
                  <a:gd name="connsiteX2" fmla="*/ 11551 w 11550"/>
                  <a:gd name="connsiteY2" fmla="*/ 5775 h 22274"/>
                  <a:gd name="connsiteX3" fmla="*/ 5775 w 11550"/>
                  <a:gd name="connsiteY3" fmla="*/ 0 h 22274"/>
                  <a:gd name="connsiteX4" fmla="*/ 0 w 11550"/>
                  <a:gd name="connsiteY4" fmla="*/ 5775 h 22274"/>
                  <a:gd name="connsiteX5" fmla="*/ 0 w 11550"/>
                  <a:gd name="connsiteY5" fmla="*/ 16499 h 22274"/>
                  <a:gd name="connsiteX6" fmla="*/ 5775 w 11550"/>
                  <a:gd name="connsiteY6" fmla="*/ 22274 h 222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550" h="22274">
                    <a:moveTo>
                      <a:pt x="5775" y="22274"/>
                    </a:moveTo>
                    <a:cubicBezTo>
                      <a:pt x="8966" y="22274"/>
                      <a:pt x="11551" y="19688"/>
                      <a:pt x="11551" y="16499"/>
                    </a:cubicBezTo>
                    <a:lnTo>
                      <a:pt x="11551" y="5775"/>
                    </a:lnTo>
                    <a:cubicBezTo>
                      <a:pt x="11551" y="2586"/>
                      <a:pt x="8966" y="0"/>
                      <a:pt x="5775" y="0"/>
                    </a:cubicBezTo>
                    <a:cubicBezTo>
                      <a:pt x="2585" y="0"/>
                      <a:pt x="0" y="2586"/>
                      <a:pt x="0" y="5775"/>
                    </a:cubicBezTo>
                    <a:lnTo>
                      <a:pt x="0" y="16499"/>
                    </a:lnTo>
                    <a:cubicBezTo>
                      <a:pt x="0" y="19688"/>
                      <a:pt x="2585" y="22274"/>
                      <a:pt x="5775" y="22274"/>
                    </a:cubicBezTo>
                    <a:close/>
                  </a:path>
                </a:pathLst>
              </a:custGeom>
              <a:grpFill/>
              <a:ln w="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500">
                  <a:latin typeface="Roboto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68B709F0-1DC9-47EE-9BF1-BB36B6209DC2}"/>
                  </a:ext>
                </a:extLst>
              </p:cNvPr>
              <p:cNvSpPr/>
              <p:nvPr/>
            </p:nvSpPr>
            <p:spPr>
              <a:xfrm>
                <a:off x="6170393" y="4524435"/>
                <a:ext cx="11550" cy="22274"/>
              </a:xfrm>
              <a:custGeom>
                <a:avLst/>
                <a:gdLst>
                  <a:gd name="connsiteX0" fmla="*/ 5775 w 11550"/>
                  <a:gd name="connsiteY0" fmla="*/ 22274 h 22274"/>
                  <a:gd name="connsiteX1" fmla="*/ 11551 w 11550"/>
                  <a:gd name="connsiteY1" fmla="*/ 16499 h 22274"/>
                  <a:gd name="connsiteX2" fmla="*/ 11551 w 11550"/>
                  <a:gd name="connsiteY2" fmla="*/ 5775 h 22274"/>
                  <a:gd name="connsiteX3" fmla="*/ 5775 w 11550"/>
                  <a:gd name="connsiteY3" fmla="*/ 0 h 22274"/>
                  <a:gd name="connsiteX4" fmla="*/ 0 w 11550"/>
                  <a:gd name="connsiteY4" fmla="*/ 5775 h 22274"/>
                  <a:gd name="connsiteX5" fmla="*/ 0 w 11550"/>
                  <a:gd name="connsiteY5" fmla="*/ 16499 h 22274"/>
                  <a:gd name="connsiteX6" fmla="*/ 5775 w 11550"/>
                  <a:gd name="connsiteY6" fmla="*/ 22274 h 222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550" h="22274">
                    <a:moveTo>
                      <a:pt x="5775" y="22274"/>
                    </a:moveTo>
                    <a:cubicBezTo>
                      <a:pt x="8966" y="22274"/>
                      <a:pt x="11551" y="19688"/>
                      <a:pt x="11551" y="16499"/>
                    </a:cubicBezTo>
                    <a:lnTo>
                      <a:pt x="11551" y="5775"/>
                    </a:lnTo>
                    <a:cubicBezTo>
                      <a:pt x="11551" y="2586"/>
                      <a:pt x="8966" y="0"/>
                      <a:pt x="5775" y="0"/>
                    </a:cubicBezTo>
                    <a:cubicBezTo>
                      <a:pt x="2585" y="0"/>
                      <a:pt x="0" y="2586"/>
                      <a:pt x="0" y="5775"/>
                    </a:cubicBezTo>
                    <a:lnTo>
                      <a:pt x="0" y="16499"/>
                    </a:lnTo>
                    <a:cubicBezTo>
                      <a:pt x="0" y="19688"/>
                      <a:pt x="2585" y="22274"/>
                      <a:pt x="5775" y="22274"/>
                    </a:cubicBezTo>
                    <a:close/>
                  </a:path>
                </a:pathLst>
              </a:custGeom>
              <a:grpFill/>
              <a:ln w="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500">
                  <a:latin typeface="Roboto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44E533E1-8525-4EC8-939B-772CA430D471}"/>
                  </a:ext>
                </a:extLst>
              </p:cNvPr>
              <p:cNvSpPr/>
              <p:nvPr/>
            </p:nvSpPr>
            <p:spPr>
              <a:xfrm>
                <a:off x="6184325" y="4510503"/>
                <a:ext cx="22274" cy="11550"/>
              </a:xfrm>
              <a:custGeom>
                <a:avLst/>
                <a:gdLst>
                  <a:gd name="connsiteX0" fmla="*/ 5775 w 22274"/>
                  <a:gd name="connsiteY0" fmla="*/ 11551 h 11550"/>
                  <a:gd name="connsiteX1" fmla="*/ 16499 w 22274"/>
                  <a:gd name="connsiteY1" fmla="*/ 11551 h 11550"/>
                  <a:gd name="connsiteX2" fmla="*/ 22274 w 22274"/>
                  <a:gd name="connsiteY2" fmla="*/ 5775 h 11550"/>
                  <a:gd name="connsiteX3" fmla="*/ 16499 w 22274"/>
                  <a:gd name="connsiteY3" fmla="*/ 0 h 11550"/>
                  <a:gd name="connsiteX4" fmla="*/ 5775 w 22274"/>
                  <a:gd name="connsiteY4" fmla="*/ 0 h 11550"/>
                  <a:gd name="connsiteX5" fmla="*/ 0 w 22274"/>
                  <a:gd name="connsiteY5" fmla="*/ 5775 h 11550"/>
                  <a:gd name="connsiteX6" fmla="*/ 5775 w 22274"/>
                  <a:gd name="connsiteY6" fmla="*/ 11551 h 11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274" h="11550">
                    <a:moveTo>
                      <a:pt x="5775" y="11551"/>
                    </a:moveTo>
                    <a:lnTo>
                      <a:pt x="16499" y="11551"/>
                    </a:lnTo>
                    <a:cubicBezTo>
                      <a:pt x="19689" y="11551"/>
                      <a:pt x="22274" y="8965"/>
                      <a:pt x="22274" y="5775"/>
                    </a:cubicBezTo>
                    <a:cubicBezTo>
                      <a:pt x="22274" y="2586"/>
                      <a:pt x="19689" y="0"/>
                      <a:pt x="16499" y="0"/>
                    </a:cubicBezTo>
                    <a:lnTo>
                      <a:pt x="5775" y="0"/>
                    </a:lnTo>
                    <a:cubicBezTo>
                      <a:pt x="2585" y="0"/>
                      <a:pt x="0" y="2586"/>
                      <a:pt x="0" y="5775"/>
                    </a:cubicBezTo>
                    <a:cubicBezTo>
                      <a:pt x="0" y="8965"/>
                      <a:pt x="2585" y="11551"/>
                      <a:pt x="5775" y="11551"/>
                    </a:cubicBezTo>
                    <a:close/>
                  </a:path>
                </a:pathLst>
              </a:custGeom>
              <a:grpFill/>
              <a:ln w="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500">
                  <a:latin typeface="Roboto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7764A650-74D5-4E5B-B3FC-A018951D9E53}"/>
                  </a:ext>
                </a:extLst>
              </p:cNvPr>
              <p:cNvSpPr/>
              <p:nvPr/>
            </p:nvSpPr>
            <p:spPr>
              <a:xfrm>
                <a:off x="6145737" y="4510503"/>
                <a:ext cx="22274" cy="11550"/>
              </a:xfrm>
              <a:custGeom>
                <a:avLst/>
                <a:gdLst>
                  <a:gd name="connsiteX0" fmla="*/ 5775 w 22274"/>
                  <a:gd name="connsiteY0" fmla="*/ 11551 h 11550"/>
                  <a:gd name="connsiteX1" fmla="*/ 16499 w 22274"/>
                  <a:gd name="connsiteY1" fmla="*/ 11551 h 11550"/>
                  <a:gd name="connsiteX2" fmla="*/ 22274 w 22274"/>
                  <a:gd name="connsiteY2" fmla="*/ 5775 h 11550"/>
                  <a:gd name="connsiteX3" fmla="*/ 16499 w 22274"/>
                  <a:gd name="connsiteY3" fmla="*/ 0 h 11550"/>
                  <a:gd name="connsiteX4" fmla="*/ 5775 w 22274"/>
                  <a:gd name="connsiteY4" fmla="*/ 0 h 11550"/>
                  <a:gd name="connsiteX5" fmla="*/ 0 w 22274"/>
                  <a:gd name="connsiteY5" fmla="*/ 5775 h 11550"/>
                  <a:gd name="connsiteX6" fmla="*/ 5775 w 22274"/>
                  <a:gd name="connsiteY6" fmla="*/ 11551 h 11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274" h="11550">
                    <a:moveTo>
                      <a:pt x="5775" y="11551"/>
                    </a:moveTo>
                    <a:lnTo>
                      <a:pt x="16499" y="11551"/>
                    </a:lnTo>
                    <a:cubicBezTo>
                      <a:pt x="19689" y="11551"/>
                      <a:pt x="22274" y="8965"/>
                      <a:pt x="22274" y="5775"/>
                    </a:cubicBezTo>
                    <a:cubicBezTo>
                      <a:pt x="22274" y="2586"/>
                      <a:pt x="19689" y="0"/>
                      <a:pt x="16499" y="0"/>
                    </a:cubicBezTo>
                    <a:lnTo>
                      <a:pt x="5775" y="0"/>
                    </a:lnTo>
                    <a:cubicBezTo>
                      <a:pt x="2585" y="0"/>
                      <a:pt x="0" y="2586"/>
                      <a:pt x="0" y="5775"/>
                    </a:cubicBezTo>
                    <a:cubicBezTo>
                      <a:pt x="0" y="8965"/>
                      <a:pt x="2586" y="11551"/>
                      <a:pt x="5775" y="11551"/>
                    </a:cubicBezTo>
                    <a:close/>
                  </a:path>
                </a:pathLst>
              </a:custGeom>
              <a:grpFill/>
              <a:ln w="7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500">
                  <a:latin typeface="Roboto"/>
                </a:endParaRPr>
              </a:p>
            </p:txBody>
          </p:sp>
        </p:grpSp>
      </p:grp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FE376487-A2E9-447E-BA9B-505215F24C3D}"/>
              </a:ext>
            </a:extLst>
          </p:cNvPr>
          <p:cNvSpPr/>
          <p:nvPr/>
        </p:nvSpPr>
        <p:spPr bwMode="auto">
          <a:xfrm>
            <a:off x="1120658" y="3233646"/>
            <a:ext cx="3346545" cy="770596"/>
          </a:xfrm>
          <a:prstGeom prst="roundRect">
            <a:avLst>
              <a:gd name="adj" fmla="val 50000"/>
            </a:avLst>
          </a:prstGeom>
          <a:solidFill>
            <a:srgbClr val="1A1446"/>
          </a:solidFill>
          <a:ln>
            <a:noFill/>
          </a:ln>
        </p:spPr>
        <p:txBody>
          <a:bodyPr vert="horz" wrap="square" lIns="97971" tIns="48986" rIns="97971" bIns="48986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tness</a:t>
            </a:r>
            <a:r>
              <a:rPr lang="en-US" sz="1500" dirty="0">
                <a:latin typeface="Roboto"/>
              </a:rPr>
              <a:t> </a:t>
            </a: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17A55149-A2AC-4425-95C4-FD86158B94F9}"/>
              </a:ext>
            </a:extLst>
          </p:cNvPr>
          <p:cNvSpPr/>
          <p:nvPr/>
        </p:nvSpPr>
        <p:spPr bwMode="auto">
          <a:xfrm>
            <a:off x="1120658" y="946604"/>
            <a:ext cx="3360364" cy="926900"/>
          </a:xfrm>
          <a:prstGeom prst="roundRect">
            <a:avLst>
              <a:gd name="adj" fmla="val 50000"/>
            </a:avLst>
          </a:prstGeom>
          <a:solidFill>
            <a:srgbClr val="1A1446"/>
          </a:solidFill>
          <a:ln>
            <a:noFill/>
          </a:ln>
        </p:spPr>
        <p:txBody>
          <a:bodyPr vert="horz" wrap="square" lIns="97971" tIns="48986" rIns="97971" bIns="48986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ebinars</a:t>
            </a: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297E744C-2AB8-4800-89D7-0EAD75E790BB}"/>
              </a:ext>
            </a:extLst>
          </p:cNvPr>
          <p:cNvSpPr/>
          <p:nvPr/>
        </p:nvSpPr>
        <p:spPr bwMode="auto">
          <a:xfrm>
            <a:off x="7818561" y="981995"/>
            <a:ext cx="3128766" cy="860491"/>
          </a:xfrm>
          <a:prstGeom prst="roundRect">
            <a:avLst>
              <a:gd name="adj" fmla="val 50000"/>
            </a:avLst>
          </a:prstGeom>
          <a:solidFill>
            <a:srgbClr val="1A1446"/>
          </a:solidFill>
          <a:ln>
            <a:noFill/>
          </a:ln>
        </p:spPr>
        <p:txBody>
          <a:bodyPr vert="horz" wrap="square" lIns="97971" tIns="48986" rIns="97971" bIns="48986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AP</a:t>
            </a: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F6CA69E8-B9C5-44A7-8E68-173B413DA2B4}"/>
              </a:ext>
            </a:extLst>
          </p:cNvPr>
          <p:cNvSpPr/>
          <p:nvPr/>
        </p:nvSpPr>
        <p:spPr bwMode="auto">
          <a:xfrm>
            <a:off x="7818561" y="3206524"/>
            <a:ext cx="3128768" cy="824838"/>
          </a:xfrm>
          <a:prstGeom prst="roundRect">
            <a:avLst>
              <a:gd name="adj" fmla="val 50000"/>
            </a:avLst>
          </a:prstGeom>
          <a:solidFill>
            <a:srgbClr val="1A1446"/>
          </a:solidFill>
          <a:ln>
            <a:noFill/>
          </a:ln>
        </p:spPr>
        <p:txBody>
          <a:bodyPr vert="horz" wrap="square" lIns="97971" tIns="48986" rIns="97971" bIns="48986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PD</a:t>
            </a: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D7DC836C-A95A-4D6A-98E2-4D23ADD06C2B}"/>
              </a:ext>
            </a:extLst>
          </p:cNvPr>
          <p:cNvSpPr/>
          <p:nvPr/>
        </p:nvSpPr>
        <p:spPr bwMode="auto">
          <a:xfrm>
            <a:off x="7849886" y="4343238"/>
            <a:ext cx="3066116" cy="824839"/>
          </a:xfrm>
          <a:prstGeom prst="roundRect">
            <a:avLst>
              <a:gd name="adj" fmla="val 50000"/>
            </a:avLst>
          </a:prstGeom>
          <a:solidFill>
            <a:srgbClr val="1A1446"/>
          </a:solidFill>
          <a:ln>
            <a:noFill/>
          </a:ln>
        </p:spPr>
        <p:txBody>
          <a:bodyPr vert="horz" wrap="square" lIns="97971" tIns="48986" rIns="97971" bIns="48986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714" b="1" dirty="0">
                <a:solidFill>
                  <a:schemeClr val="bg1"/>
                </a:solidFill>
                <a:latin typeface="Roboto"/>
              </a:rPr>
              <a:t>         </a:t>
            </a:r>
            <a:r>
              <a:rPr lang="en-US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vid </a:t>
            </a:r>
            <a:r>
              <a:rPr lang="en-US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accination</a:t>
            </a:r>
            <a:endParaRPr lang="en-US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41686285-E776-4743-AB5C-1571D58C95AB}"/>
              </a:ext>
            </a:extLst>
          </p:cNvPr>
          <p:cNvSpPr/>
          <p:nvPr/>
        </p:nvSpPr>
        <p:spPr bwMode="auto">
          <a:xfrm>
            <a:off x="1155673" y="4368742"/>
            <a:ext cx="3311530" cy="773831"/>
          </a:xfrm>
          <a:prstGeom prst="roundRect">
            <a:avLst>
              <a:gd name="adj" fmla="val 50000"/>
            </a:avLst>
          </a:prstGeom>
          <a:solidFill>
            <a:srgbClr val="1A1446"/>
          </a:solidFill>
          <a:ln>
            <a:noFill/>
          </a:ln>
        </p:spPr>
        <p:txBody>
          <a:bodyPr vert="horz" wrap="square" lIns="97971" tIns="48986" rIns="97971" bIns="48986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s letters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353523B6-5D78-4ED8-BFFB-A77B313F46A5}"/>
              </a:ext>
            </a:extLst>
          </p:cNvPr>
          <p:cNvSpPr txBox="1"/>
          <p:nvPr/>
        </p:nvSpPr>
        <p:spPr>
          <a:xfrm>
            <a:off x="4096842" y="185713"/>
            <a:ext cx="3913396" cy="42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143" dirty="0">
                <a:latin typeface="Calibri" panose="020F0502020204030204" pitchFamily="34" charset="0"/>
                <a:cs typeface="Calibri" panose="020F0502020204030204" pitchFamily="34" charset="0"/>
              </a:rPr>
              <a:t>Wellness Services</a:t>
            </a:r>
            <a:endParaRPr lang="en-IN" sz="2143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5098083-4275-4CFA-8B3A-6F6B5C695D6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1479580" y="1133669"/>
            <a:ext cx="385570" cy="366369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501DF7E9-CA44-4095-91DD-3A8FBD776A5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3291" y="1133670"/>
            <a:ext cx="402015" cy="349898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B78FCDFE-A818-49C9-B8A7-C83CC9A6992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0271" y="2433927"/>
            <a:ext cx="472958" cy="362736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E74064B3-1F8A-4AD2-91A1-B9891F2F7F6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3291" y="2433927"/>
            <a:ext cx="402015" cy="362736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39A05EA9-24D8-4898-ACD5-1E674A19EFB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4510" y="3370688"/>
            <a:ext cx="400640" cy="326296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A5F7386F-CD4D-49EA-9CC4-7E4D376FA0F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8695" y="3352608"/>
            <a:ext cx="376611" cy="377945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0D668763-5D81-4389-9A75-A420E5A3745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0702" y="4567418"/>
            <a:ext cx="484448" cy="268817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7E0265BE-1B50-41BF-8F9F-A54CBDB9CFE0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8695" y="4549991"/>
            <a:ext cx="376611" cy="286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92020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B9E9DBA-1087-43FA-BAE8-91E2621FCC45}"/>
              </a:ext>
            </a:extLst>
          </p:cNvPr>
          <p:cNvSpPr txBox="1"/>
          <p:nvPr/>
        </p:nvSpPr>
        <p:spPr>
          <a:xfrm>
            <a:off x="4439958" y="214410"/>
            <a:ext cx="3331029" cy="42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143" dirty="0">
                <a:latin typeface="Calibri" panose="020F0502020204030204" pitchFamily="34" charset="0"/>
                <a:cs typeface="Calibri" panose="020F0502020204030204" pitchFamily="34" charset="0"/>
              </a:rPr>
              <a:t>Wellness Packages</a:t>
            </a:r>
            <a:endParaRPr lang="en-IN" sz="2143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F44A3965-D1FF-487F-8B4F-303C5B49D3AA}"/>
              </a:ext>
            </a:extLst>
          </p:cNvPr>
          <p:cNvSpPr/>
          <p:nvPr/>
        </p:nvSpPr>
        <p:spPr>
          <a:xfrm>
            <a:off x="906354" y="915820"/>
            <a:ext cx="5054759" cy="5409726"/>
          </a:xfrm>
          <a:prstGeom prst="roundRect">
            <a:avLst/>
          </a:prstGeom>
          <a:noFill/>
          <a:ln>
            <a:solidFill>
              <a:srgbClr val="1A14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2143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plimentary Plan</a:t>
            </a:r>
          </a:p>
          <a:p>
            <a:pPr lvl="0"/>
            <a:endParaRPr lang="en-US" sz="1821" dirty="0">
              <a:solidFill>
                <a:schemeClr val="tx1"/>
              </a:solidFill>
            </a:endParaRPr>
          </a:p>
          <a:p>
            <a:pPr marL="306153" indent="-306153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sic health checkups-Height,weight,BMI,Blood pressure,Eye checkup.</a:t>
            </a:r>
          </a:p>
          <a:p>
            <a:pPr marL="306153" indent="-306153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ebinars-3 Webinars per year per corporate</a:t>
            </a:r>
          </a:p>
          <a:p>
            <a:pPr marL="306153" indent="-306153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nline consultation-50 consultations per year per corporate</a:t>
            </a:r>
          </a:p>
          <a:p>
            <a:pPr marL="306153" indent="-306153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sistance for covid vaccination</a:t>
            </a:r>
          </a:p>
          <a:p>
            <a:pPr marL="306153" indent="-306153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sistance for surgery</a:t>
            </a:r>
            <a:endParaRPr lang="en-IN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30545A83-7B78-490A-90D4-7A3DB609EA7C}"/>
              </a:ext>
            </a:extLst>
          </p:cNvPr>
          <p:cNvSpPr/>
          <p:nvPr/>
        </p:nvSpPr>
        <p:spPr>
          <a:xfrm>
            <a:off x="6230889" y="915820"/>
            <a:ext cx="5054758" cy="5409726"/>
          </a:xfrm>
          <a:prstGeom prst="roundRect">
            <a:avLst/>
          </a:prstGeom>
          <a:noFill/>
          <a:ln>
            <a:solidFill>
              <a:srgbClr val="1A14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821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sic Plan</a:t>
            </a:r>
          </a:p>
          <a:p>
            <a:pPr lvl="0"/>
            <a:endParaRPr lang="en-US" sz="1821" dirty="0">
              <a:solidFill>
                <a:schemeClr val="tx1"/>
              </a:solidFill>
            </a:endParaRPr>
          </a:p>
          <a:p>
            <a:pPr marL="306153" indent="-306153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alth checkup-7 tests</a:t>
            </a:r>
          </a:p>
          <a:p>
            <a:pPr marL="306153" indent="-306153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ebinars-6 webinars per year per corporate </a:t>
            </a:r>
          </a:p>
          <a:p>
            <a:pPr marL="306153" indent="-306153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nline consultation-unlimited online consultation for a year for each employee and dependents</a:t>
            </a:r>
          </a:p>
          <a:p>
            <a:pPr marL="306153" indent="-306153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s letters</a:t>
            </a:r>
          </a:p>
          <a:p>
            <a:pPr marL="306153" indent="-306153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sistance for covid vaccination</a:t>
            </a:r>
          </a:p>
          <a:p>
            <a:pPr marL="306153" indent="-306153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sistance for surgery</a:t>
            </a:r>
          </a:p>
          <a:p>
            <a:pPr lvl="0"/>
            <a:endParaRPr lang="en-US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ckage cost:-950</a:t>
            </a:r>
          </a:p>
          <a:p>
            <a:pPr lvl="0"/>
            <a:endParaRPr lang="en-US" sz="1821" dirty="0">
              <a:solidFill>
                <a:schemeClr val="tx1"/>
              </a:solidFill>
            </a:endParaRPr>
          </a:p>
          <a:p>
            <a:pPr lvl="0"/>
            <a:r>
              <a:rPr lang="en-US" sz="1286" dirty="0">
                <a:solidFill>
                  <a:schemeClr val="tx1"/>
                </a:solidFill>
              </a:rPr>
              <a:t>*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alth check up packages are different for different providers</a:t>
            </a:r>
          </a:p>
          <a:p>
            <a:pPr lvl="0"/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Per head cost will vary according to the number of beneficiaries</a:t>
            </a:r>
          </a:p>
          <a:p>
            <a:pPr lvl="0"/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Few more packages and services are under discussion with certain providers and those will be updated here soon</a:t>
            </a:r>
          </a:p>
        </p:txBody>
      </p:sp>
    </p:spTree>
    <p:extLst>
      <p:ext uri="{BB962C8B-B14F-4D97-AF65-F5344CB8AC3E}">
        <p14:creationId xmlns:p14="http://schemas.microsoft.com/office/powerpoint/2010/main" val="33334818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>
            <a:extLst>
              <a:ext uri="{FF2B5EF4-FFF2-40B4-BE49-F238E27FC236}">
                <a16:creationId xmlns:a16="http://schemas.microsoft.com/office/drawing/2014/main" id="{3915C9D8-84BB-4FA8-801B-DB84450D15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0165" y="772657"/>
            <a:ext cx="2468571" cy="726058"/>
          </a:xfrm>
          <a:prstGeom prst="rect">
            <a:avLst/>
          </a:prstGeom>
          <a:solidFill>
            <a:srgbClr val="1A1446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alth </a:t>
            </a:r>
            <a:r>
              <a:rPr lang="en-US" sz="1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eck Up</a:t>
            </a:r>
            <a:r>
              <a:rPr lang="en-US" sz="1500" b="1" dirty="0">
                <a:solidFill>
                  <a:schemeClr val="bg1"/>
                </a:solidFill>
              </a:rPr>
              <a:t> </a:t>
            </a:r>
            <a:endParaRPr lang="en-US" sz="1500" b="1" dirty="0">
              <a:solidFill>
                <a:schemeClr val="bg1"/>
              </a:solidFill>
            </a:endParaRP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11CE710F-21AB-4A0F-B8E3-7E68268A26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54921" y="786349"/>
            <a:ext cx="2468571" cy="726058"/>
          </a:xfrm>
          <a:prstGeom prst="rect">
            <a:avLst/>
          </a:prstGeom>
          <a:solidFill>
            <a:srgbClr val="1A1446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nline </a:t>
            </a:r>
            <a:r>
              <a:rPr lang="en-US" sz="1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sultation</a:t>
            </a:r>
            <a:endParaRPr lang="en-US" sz="15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4BB2143-C5A6-4CF2-BE32-50572D7191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79677" y="801454"/>
            <a:ext cx="2468571" cy="726058"/>
          </a:xfrm>
          <a:prstGeom prst="rect">
            <a:avLst/>
          </a:prstGeom>
          <a:solidFill>
            <a:srgbClr val="1A1446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5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AP </a:t>
            </a:r>
            <a:r>
              <a:rPr lang="en-US" sz="15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+ Online </a:t>
            </a:r>
            <a:r>
              <a:rPr lang="en-US" sz="15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</a:t>
            </a:r>
            <a:r>
              <a:rPr lang="en-US" sz="15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nsultation</a:t>
            </a:r>
            <a:r>
              <a:rPr lang="en-US" sz="1500" dirty="0">
                <a:solidFill>
                  <a:schemeClr val="bg1"/>
                </a:solidFill>
                <a:latin typeface="Roboto" panose="02000000000000000000"/>
              </a:rPr>
              <a:t> </a:t>
            </a:r>
            <a:endParaRPr lang="en-US" sz="1500" b="1" dirty="0">
              <a:solidFill>
                <a:schemeClr val="bg1"/>
              </a:solidFill>
              <a:latin typeface="Roboto" panose="0200000000000000000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BC09A70-1117-4966-A00A-A96250285CD9}"/>
              </a:ext>
            </a:extLst>
          </p:cNvPr>
          <p:cNvSpPr txBox="1"/>
          <p:nvPr/>
        </p:nvSpPr>
        <p:spPr>
          <a:xfrm>
            <a:off x="930165" y="1498715"/>
            <a:ext cx="2468571" cy="1938864"/>
          </a:xfrm>
          <a:prstGeom prst="rect">
            <a:avLst/>
          </a:prstGeom>
          <a:noFill/>
          <a:ln>
            <a:solidFill>
              <a:srgbClr val="1A1446"/>
            </a:solidFill>
          </a:ln>
        </p:spPr>
        <p:txBody>
          <a:bodyPr wrap="square" rtlCol="0">
            <a:spAutoFit/>
          </a:bodyPr>
          <a:lstStyle/>
          <a:p>
            <a:pPr lvl="0"/>
            <a:r>
              <a:rPr lang="en-US" sz="1714" dirty="0">
                <a:latin typeface="Calibri" panose="020F0502020204030204" pitchFamily="34" charset="0"/>
                <a:cs typeface="Calibri" panose="020F0502020204030204" pitchFamily="34" charset="0"/>
              </a:rPr>
              <a:t>Basic health check up</a:t>
            </a:r>
          </a:p>
          <a:p>
            <a:pPr lvl="0"/>
            <a:r>
              <a:rPr lang="en-US" sz="1714" dirty="0">
                <a:latin typeface="Calibri" panose="020F0502020204030204" pitchFamily="34" charset="0"/>
                <a:cs typeface="Calibri" panose="020F0502020204030204" pitchFamily="34" charset="0"/>
              </a:rPr>
              <a:t>      :7 tests-Rs:600</a:t>
            </a:r>
          </a:p>
          <a:p>
            <a:pPr lvl="0"/>
            <a:r>
              <a:rPr lang="en-US" sz="1714" dirty="0">
                <a:latin typeface="Calibri" panose="020F0502020204030204" pitchFamily="34" charset="0"/>
                <a:cs typeface="Calibri" panose="020F0502020204030204" pitchFamily="34" charset="0"/>
              </a:rPr>
              <a:t>Executive health check up</a:t>
            </a:r>
          </a:p>
          <a:p>
            <a:pPr lvl="0"/>
            <a:r>
              <a:rPr lang="en-US" sz="1714" dirty="0">
                <a:latin typeface="Calibri" panose="020F0502020204030204" pitchFamily="34" charset="0"/>
                <a:cs typeface="Calibri" panose="020F0502020204030204" pitchFamily="34" charset="0"/>
              </a:rPr>
              <a:t>      :9 tests-Rs:1400</a:t>
            </a:r>
          </a:p>
          <a:p>
            <a:pPr lvl="0"/>
            <a:r>
              <a:rPr lang="en-US" sz="1714" dirty="0">
                <a:latin typeface="Calibri" panose="020F0502020204030204" pitchFamily="34" charset="0"/>
                <a:cs typeface="Calibri" panose="020F0502020204030204" pitchFamily="34" charset="0"/>
              </a:rPr>
              <a:t>Master health check up</a:t>
            </a:r>
          </a:p>
          <a:p>
            <a:pPr lvl="0"/>
            <a:r>
              <a:rPr lang="en-US" sz="1714" dirty="0">
                <a:latin typeface="Calibri" panose="020F0502020204030204" pitchFamily="34" charset="0"/>
                <a:cs typeface="Calibri" panose="020F0502020204030204" pitchFamily="34" charset="0"/>
              </a:rPr>
              <a:t>       :12 </a:t>
            </a:r>
            <a:r>
              <a:rPr lang="en-US" sz="1714" dirty="0" smtClean="0">
                <a:latin typeface="Calibri" panose="020F0502020204030204" pitchFamily="34" charset="0"/>
                <a:cs typeface="Calibri" panose="020F0502020204030204" pitchFamily="34" charset="0"/>
              </a:rPr>
              <a:t>tests-Rs:4500</a:t>
            </a:r>
          </a:p>
          <a:p>
            <a:pPr lvl="0"/>
            <a:endParaRPr lang="en-US" sz="1714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680458F-46CF-4E93-9DEE-503F65BB1DD4}"/>
              </a:ext>
            </a:extLst>
          </p:cNvPr>
          <p:cNvSpPr txBox="1"/>
          <p:nvPr/>
        </p:nvSpPr>
        <p:spPr>
          <a:xfrm>
            <a:off x="3554920" y="1496345"/>
            <a:ext cx="2468571" cy="1938864"/>
          </a:xfrm>
          <a:prstGeom prst="rect">
            <a:avLst/>
          </a:prstGeom>
          <a:noFill/>
          <a:ln>
            <a:solidFill>
              <a:srgbClr val="1A1446"/>
            </a:solidFill>
          </a:ln>
        </p:spPr>
        <p:txBody>
          <a:bodyPr wrap="square" rtlCol="0">
            <a:spAutoFit/>
          </a:bodyPr>
          <a:lstStyle/>
          <a:p>
            <a:pPr lvl="0"/>
            <a:r>
              <a:rPr lang="en-US" sz="1714" dirty="0">
                <a:latin typeface="Calibri" panose="020F0502020204030204" pitchFamily="34" charset="0"/>
                <a:cs typeface="Calibri" panose="020F0502020204030204" pitchFamily="34" charset="0"/>
              </a:rPr>
              <a:t>350 per head per annum (average cost)</a:t>
            </a:r>
          </a:p>
          <a:p>
            <a:pPr lvl="0"/>
            <a:endParaRPr lang="en-US" sz="1714" dirty="0">
              <a:latin typeface="Roboto" panose="02000000000000000000"/>
            </a:endParaRPr>
          </a:p>
          <a:p>
            <a:pPr lvl="0"/>
            <a:endParaRPr lang="en-US" sz="1714" dirty="0">
              <a:latin typeface="Roboto" panose="02000000000000000000"/>
            </a:endParaRPr>
          </a:p>
          <a:p>
            <a:pPr marL="306153" indent="-306153">
              <a:buFont typeface="Wingdings" panose="05000000000000000000" pitchFamily="2" charset="2"/>
              <a:buChar char="§"/>
            </a:pPr>
            <a:endParaRPr lang="en-US" sz="1714" dirty="0">
              <a:latin typeface="Roboto" panose="02000000000000000000"/>
            </a:endParaRPr>
          </a:p>
          <a:p>
            <a:pPr marL="306153" indent="-306153">
              <a:buFont typeface="Wingdings" panose="05000000000000000000" pitchFamily="2" charset="2"/>
              <a:buChar char="§"/>
            </a:pPr>
            <a:endParaRPr lang="en-IN" sz="1714" dirty="0">
              <a:latin typeface="Roboto" panose="02000000000000000000"/>
            </a:endParaRPr>
          </a:p>
          <a:p>
            <a:pPr lvl="0"/>
            <a:endParaRPr lang="en-IN" sz="1714" dirty="0">
              <a:latin typeface="Roboto" panose="0200000000000000000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EF3C9E8-6090-4E39-ADFE-8A8674B7D2F9}"/>
              </a:ext>
            </a:extLst>
          </p:cNvPr>
          <p:cNvSpPr txBox="1"/>
          <p:nvPr/>
        </p:nvSpPr>
        <p:spPr>
          <a:xfrm>
            <a:off x="6179677" y="1521858"/>
            <a:ext cx="2468571" cy="1938864"/>
          </a:xfrm>
          <a:prstGeom prst="rect">
            <a:avLst/>
          </a:prstGeom>
          <a:noFill/>
          <a:ln>
            <a:solidFill>
              <a:srgbClr val="1A1446"/>
            </a:solidFill>
          </a:ln>
        </p:spPr>
        <p:txBody>
          <a:bodyPr wrap="square" rtlCol="0">
            <a:spAutoFit/>
          </a:bodyPr>
          <a:lstStyle/>
          <a:p>
            <a:pPr lvl="0"/>
            <a:r>
              <a:rPr lang="en-US" sz="1714" dirty="0">
                <a:latin typeface="Calibri" panose="020F0502020204030204" pitchFamily="34" charset="0"/>
                <a:cs typeface="Calibri" panose="020F0502020204030204" pitchFamily="34" charset="0"/>
              </a:rPr>
              <a:t>650 per head per annum (average cost)</a:t>
            </a:r>
          </a:p>
          <a:p>
            <a:pPr lvl="0"/>
            <a:r>
              <a:rPr lang="en-US" sz="1714" dirty="0">
                <a:latin typeface="Calibri" panose="020F0502020204030204" pitchFamily="34" charset="0"/>
                <a:cs typeface="Calibri" panose="020F0502020204030204" pitchFamily="34" charset="0"/>
              </a:rPr>
              <a:t>This service has byproducts of Meditation,mindfullness, Yoga, Zumba</a:t>
            </a:r>
          </a:p>
          <a:p>
            <a:pPr lvl="0"/>
            <a:endParaRPr lang="en-US" sz="1714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69EF8DB-6D5C-4CD5-8C15-C3EAC0C417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4433" y="801454"/>
            <a:ext cx="2468571" cy="726058"/>
          </a:xfrm>
          <a:prstGeom prst="rect">
            <a:avLst/>
          </a:prstGeom>
          <a:solidFill>
            <a:srgbClr val="1A1446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PD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62C2CB5-56F5-4B1F-980E-5623C07DF123}"/>
              </a:ext>
            </a:extLst>
          </p:cNvPr>
          <p:cNvSpPr txBox="1"/>
          <p:nvPr/>
        </p:nvSpPr>
        <p:spPr>
          <a:xfrm>
            <a:off x="8804433" y="1521858"/>
            <a:ext cx="2468571" cy="1938864"/>
          </a:xfrm>
          <a:prstGeom prst="rect">
            <a:avLst/>
          </a:prstGeom>
          <a:noFill/>
          <a:ln>
            <a:solidFill>
              <a:srgbClr val="1A1446"/>
            </a:solidFill>
          </a:ln>
        </p:spPr>
        <p:txBody>
          <a:bodyPr wrap="square" rtlCol="0">
            <a:spAutoFit/>
          </a:bodyPr>
          <a:lstStyle/>
          <a:p>
            <a:pPr lvl="0"/>
            <a:r>
              <a:rPr lang="en-US" sz="1714" dirty="0">
                <a:latin typeface="Calibri" panose="020F0502020204030204" pitchFamily="34" charset="0"/>
                <a:cs typeface="Calibri" panose="020F0502020204030204" pitchFamily="34" charset="0"/>
              </a:rPr>
              <a:t>160 -480 Per consultation</a:t>
            </a:r>
          </a:p>
          <a:p>
            <a:pPr lvl="0"/>
            <a:r>
              <a:rPr lang="en-US" sz="1714" dirty="0">
                <a:latin typeface="Calibri" panose="020F0502020204030204" pitchFamily="34" charset="0"/>
                <a:cs typeface="Calibri" panose="020F0502020204030204" pitchFamily="34" charset="0"/>
              </a:rPr>
              <a:t>Specialist consultant is having higher cost</a:t>
            </a:r>
          </a:p>
          <a:p>
            <a:pPr lvl="0"/>
            <a:r>
              <a:rPr lang="en-US" sz="1714" dirty="0">
                <a:latin typeface="Calibri" panose="020F0502020204030204" pitchFamily="34" charset="0"/>
                <a:cs typeface="Calibri" panose="020F0502020204030204" pitchFamily="34" charset="0"/>
              </a:rPr>
              <a:t>Second opinion facility is available under this product </a:t>
            </a:r>
            <a:endParaRPr lang="en-US" sz="1714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endParaRPr lang="en-US" sz="1714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B124EDD-807F-4535-8D6D-56BC30D672A6}"/>
              </a:ext>
            </a:extLst>
          </p:cNvPr>
          <p:cNvSpPr txBox="1"/>
          <p:nvPr/>
        </p:nvSpPr>
        <p:spPr>
          <a:xfrm>
            <a:off x="3398737" y="125207"/>
            <a:ext cx="4604658" cy="42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143" dirty="0">
                <a:latin typeface="Calibri" panose="020F0502020204030204" pitchFamily="34" charset="0"/>
                <a:cs typeface="Calibri" panose="020F0502020204030204" pitchFamily="34" charset="0"/>
              </a:rPr>
              <a:t>Stand </a:t>
            </a:r>
            <a:r>
              <a:rPr lang="en-US" sz="2143" dirty="0">
                <a:latin typeface="Calibri" panose="020F0502020204030204" pitchFamily="34" charset="0"/>
                <a:cs typeface="Calibri" panose="020F0502020204030204" pitchFamily="34" charset="0"/>
              </a:rPr>
              <a:t>Alone </a:t>
            </a:r>
            <a:r>
              <a:rPr lang="en-US" sz="2143" dirty="0">
                <a:latin typeface="Calibri" panose="020F0502020204030204" pitchFamily="34" charset="0"/>
                <a:cs typeface="Calibri" panose="020F0502020204030204" pitchFamily="34" charset="0"/>
              </a:rPr>
              <a:t>W</a:t>
            </a:r>
            <a:r>
              <a:rPr lang="en-US" sz="2143" dirty="0">
                <a:latin typeface="Calibri" panose="020F0502020204030204" pitchFamily="34" charset="0"/>
                <a:cs typeface="Calibri" panose="020F0502020204030204" pitchFamily="34" charset="0"/>
              </a:rPr>
              <a:t>ellness Products</a:t>
            </a:r>
            <a:endParaRPr lang="en-IN" sz="2143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48FE7E51-5160-4E7A-9494-396E80EE59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0165" y="3695787"/>
            <a:ext cx="2468571" cy="588376"/>
          </a:xfrm>
          <a:prstGeom prst="rect">
            <a:avLst/>
          </a:prstGeom>
          <a:solidFill>
            <a:srgbClr val="1A1446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tness service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8F3ED44-58F7-4D21-89A7-C8ABCEDB6BA2}"/>
              </a:ext>
            </a:extLst>
          </p:cNvPr>
          <p:cNvSpPr txBox="1"/>
          <p:nvPr/>
        </p:nvSpPr>
        <p:spPr>
          <a:xfrm>
            <a:off x="930165" y="4262371"/>
            <a:ext cx="2468571" cy="1938864"/>
          </a:xfrm>
          <a:prstGeom prst="rect">
            <a:avLst/>
          </a:prstGeom>
          <a:noFill/>
          <a:ln>
            <a:solidFill>
              <a:srgbClr val="1A1446"/>
            </a:solidFill>
          </a:ln>
        </p:spPr>
        <p:txBody>
          <a:bodyPr wrap="square" rtlCol="0">
            <a:spAutoFit/>
          </a:bodyPr>
          <a:lstStyle/>
          <a:p>
            <a:pPr lvl="0"/>
            <a:r>
              <a:rPr lang="en-US" sz="1714" dirty="0">
                <a:latin typeface="Calibri" panose="020F0502020204030204" pitchFamily="34" charset="0"/>
                <a:cs typeface="Calibri" panose="020F0502020204030204" pitchFamily="34" charset="0"/>
              </a:rPr>
              <a:t>Cultpass live subscription-1400 per annum</a:t>
            </a:r>
          </a:p>
          <a:p>
            <a:pPr lvl="0"/>
            <a:r>
              <a:rPr lang="en-US" sz="1714" dirty="0">
                <a:latin typeface="Calibri" panose="020F0502020204030204" pitchFamily="34" charset="0"/>
                <a:cs typeface="Calibri" panose="020F0502020204030204" pitchFamily="34" charset="0"/>
              </a:rPr>
              <a:t>Fitternity  pass-2000</a:t>
            </a:r>
          </a:p>
          <a:p>
            <a:pPr lvl="0"/>
            <a:r>
              <a:rPr lang="en-US" sz="1714" dirty="0">
                <a:latin typeface="Calibri" panose="020F0502020204030204" pitchFamily="34" charset="0"/>
                <a:cs typeface="Calibri" panose="020F0502020204030204" pitchFamily="34" charset="0"/>
              </a:rPr>
              <a:t>   -12 sessions in each month across all gyms</a:t>
            </a:r>
          </a:p>
          <a:p>
            <a:pPr lvl="0"/>
            <a:endParaRPr lang="en-IN" sz="1714" dirty="0">
              <a:latin typeface="Roboto" panose="02000000000000000000"/>
            </a:endParaRPr>
          </a:p>
        </p:txBody>
      </p:sp>
      <p:sp>
        <p:nvSpPr>
          <p:cNvPr id="19" name="Rectangle 3">
            <a:extLst>
              <a:ext uri="{FF2B5EF4-FFF2-40B4-BE49-F238E27FC236}">
                <a16:creationId xmlns:a16="http://schemas.microsoft.com/office/drawing/2014/main" id="{86F8A4F6-95E2-4DA8-8205-4CA74E8F59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54920" y="3721392"/>
            <a:ext cx="2468571" cy="562771"/>
          </a:xfrm>
          <a:prstGeom prst="rect">
            <a:avLst/>
          </a:prstGeom>
          <a:solidFill>
            <a:srgbClr val="1A1446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mecare</a:t>
            </a:r>
            <a:r>
              <a:rPr lang="en-US" sz="1500" b="1" dirty="0">
                <a:solidFill>
                  <a:schemeClr val="bg1"/>
                </a:solidFill>
                <a:latin typeface="Roboto" panose="02000000000000000000"/>
              </a:rPr>
              <a:t> </a:t>
            </a:r>
          </a:p>
        </p:txBody>
      </p:sp>
      <p:sp>
        <p:nvSpPr>
          <p:cNvPr id="21" name="Rectangle 3">
            <a:extLst>
              <a:ext uri="{FF2B5EF4-FFF2-40B4-BE49-F238E27FC236}">
                <a16:creationId xmlns:a16="http://schemas.microsoft.com/office/drawing/2014/main" id="{C6898552-A5DF-4AA6-A0BB-60B398AE41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79675" y="3721394"/>
            <a:ext cx="2468571" cy="562769"/>
          </a:xfrm>
          <a:prstGeom prst="rect">
            <a:avLst/>
          </a:prstGeom>
          <a:solidFill>
            <a:srgbClr val="1A1446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addiction</a:t>
            </a:r>
            <a:r>
              <a:rPr lang="en-US" sz="1500" b="1" dirty="0">
                <a:solidFill>
                  <a:schemeClr val="bg1"/>
                </a:solidFill>
                <a:latin typeface="Roboto" panose="02000000000000000000"/>
              </a:rPr>
              <a:t>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24E0C29-6B01-4558-AF5A-32622D213E37}"/>
              </a:ext>
            </a:extLst>
          </p:cNvPr>
          <p:cNvSpPr txBox="1"/>
          <p:nvPr/>
        </p:nvSpPr>
        <p:spPr>
          <a:xfrm>
            <a:off x="6179675" y="4262371"/>
            <a:ext cx="2344428" cy="1938864"/>
          </a:xfrm>
          <a:prstGeom prst="rect">
            <a:avLst/>
          </a:prstGeom>
          <a:noFill/>
          <a:ln>
            <a:solidFill>
              <a:srgbClr val="1A1446"/>
            </a:solidFill>
          </a:ln>
        </p:spPr>
        <p:txBody>
          <a:bodyPr wrap="square" rtlCol="0">
            <a:spAutoFit/>
          </a:bodyPr>
          <a:lstStyle/>
          <a:p>
            <a:pPr lvl="0"/>
            <a:r>
              <a:rPr lang="en-US" sz="1714" dirty="0">
                <a:latin typeface="Calibri" panose="020F0502020204030204" pitchFamily="34" charset="0"/>
                <a:cs typeface="Calibri" panose="020F0502020204030204" pitchFamily="34" charset="0"/>
              </a:rPr>
              <a:t>As per </a:t>
            </a:r>
            <a:r>
              <a:rPr lang="en-US" sz="1714" dirty="0">
                <a:latin typeface="Calibri" panose="020F0502020204030204" pitchFamily="34" charset="0"/>
                <a:cs typeface="Calibri" panose="020F0502020204030204" pitchFamily="34" charset="0"/>
              </a:rPr>
              <a:t>actual</a:t>
            </a:r>
          </a:p>
          <a:p>
            <a:pPr lvl="0"/>
            <a:endParaRPr lang="en-US" sz="1714" dirty="0">
              <a:latin typeface="Roboto" panose="02000000000000000000"/>
            </a:endParaRPr>
          </a:p>
          <a:p>
            <a:pPr lvl="0"/>
            <a:endParaRPr lang="en-US" sz="1714" dirty="0">
              <a:latin typeface="Roboto" panose="02000000000000000000"/>
            </a:endParaRPr>
          </a:p>
          <a:p>
            <a:pPr marL="306153" indent="-306153">
              <a:buFont typeface="Wingdings" panose="05000000000000000000" pitchFamily="2" charset="2"/>
              <a:buChar char="§"/>
            </a:pPr>
            <a:endParaRPr lang="en-US" sz="1714" dirty="0">
              <a:latin typeface="Roboto" panose="02000000000000000000"/>
            </a:endParaRPr>
          </a:p>
          <a:p>
            <a:pPr lvl="0"/>
            <a:endParaRPr lang="en-IN" sz="1714" dirty="0">
              <a:latin typeface="Roboto" panose="02000000000000000000"/>
            </a:endParaRPr>
          </a:p>
          <a:p>
            <a:pPr lvl="0"/>
            <a:endParaRPr lang="en-IN" sz="1714" dirty="0">
              <a:latin typeface="Roboto" panose="02000000000000000000"/>
            </a:endParaRPr>
          </a:p>
          <a:p>
            <a:pPr lvl="0"/>
            <a:endParaRPr lang="en-IN" sz="1714" dirty="0">
              <a:latin typeface="Roboto" panose="0200000000000000000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254AA00-CDE2-4B2A-8B8B-640568E532CD}"/>
              </a:ext>
            </a:extLst>
          </p:cNvPr>
          <p:cNvSpPr txBox="1"/>
          <p:nvPr/>
        </p:nvSpPr>
        <p:spPr>
          <a:xfrm>
            <a:off x="8804430" y="3721392"/>
            <a:ext cx="2468571" cy="2829364"/>
          </a:xfrm>
          <a:prstGeom prst="rect">
            <a:avLst/>
          </a:prstGeom>
          <a:noFill/>
          <a:ln>
            <a:solidFill>
              <a:srgbClr val="1A1446"/>
            </a:solidFill>
          </a:ln>
        </p:spPr>
        <p:txBody>
          <a:bodyPr wrap="square" rtlCol="0">
            <a:spAutoFit/>
          </a:bodyPr>
          <a:lstStyle/>
          <a:p>
            <a:pPr lvl="0"/>
            <a:r>
              <a:rPr lang="en-US" sz="1500" dirty="0"/>
              <a:t>*</a:t>
            </a:r>
            <a:r>
              <a:rPr lang="en-US" sz="1500" dirty="0">
                <a:latin typeface="Calibri" panose="020F0502020204030204" pitchFamily="34" charset="0"/>
                <a:cs typeface="Calibri" panose="020F0502020204030204" pitchFamily="34" charset="0"/>
              </a:rPr>
              <a:t>Health check up packages are different for different providers</a:t>
            </a:r>
          </a:p>
          <a:p>
            <a:pPr lvl="0"/>
            <a:r>
              <a:rPr lang="en-US" sz="1500" dirty="0">
                <a:latin typeface="Calibri" panose="020F0502020204030204" pitchFamily="34" charset="0"/>
                <a:cs typeface="Calibri" panose="020F0502020204030204" pitchFamily="34" charset="0"/>
              </a:rPr>
              <a:t>*Per head cost for all services will vary according to the number of beneficiaries</a:t>
            </a:r>
          </a:p>
          <a:p>
            <a:pPr lvl="0"/>
            <a:r>
              <a:rPr lang="en-US" sz="1500" dirty="0">
                <a:latin typeface="Calibri" panose="020F0502020204030204" pitchFamily="34" charset="0"/>
                <a:cs typeface="Calibri" panose="020F0502020204030204" pitchFamily="34" charset="0"/>
              </a:rPr>
              <a:t>*Few more packages and services are under discussion with certain providers and those will be updated </a:t>
            </a:r>
            <a:r>
              <a:rPr lang="en-US" sz="1500" dirty="0">
                <a:latin typeface="Calibri" panose="020F0502020204030204" pitchFamily="34" charset="0"/>
                <a:cs typeface="Calibri" panose="020F0502020204030204" pitchFamily="34" charset="0"/>
              </a:rPr>
              <a:t>soon</a:t>
            </a:r>
            <a:endParaRPr lang="en-US" sz="15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endParaRPr lang="en-US" sz="1286" dirty="0">
              <a:latin typeface="Roboto" panose="0200000000000000000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680458F-46CF-4E93-9DEE-503F65BB1DD4}"/>
              </a:ext>
            </a:extLst>
          </p:cNvPr>
          <p:cNvSpPr txBox="1"/>
          <p:nvPr/>
        </p:nvSpPr>
        <p:spPr>
          <a:xfrm>
            <a:off x="3554920" y="4265398"/>
            <a:ext cx="2468571" cy="1938864"/>
          </a:xfrm>
          <a:prstGeom prst="rect">
            <a:avLst/>
          </a:prstGeom>
          <a:noFill/>
          <a:ln>
            <a:solidFill>
              <a:srgbClr val="1A1446"/>
            </a:solidFill>
          </a:ln>
        </p:spPr>
        <p:txBody>
          <a:bodyPr wrap="square" rtlCol="0">
            <a:spAutoFit/>
          </a:bodyPr>
          <a:lstStyle/>
          <a:p>
            <a:pPr lvl="0"/>
            <a:r>
              <a:rPr lang="en-US" sz="1714" dirty="0" smtClean="0">
                <a:latin typeface="Calibri" panose="020F0502020204030204" pitchFamily="34" charset="0"/>
                <a:cs typeface="Calibri" panose="020F0502020204030204" pitchFamily="34" charset="0"/>
              </a:rPr>
              <a:t>Nursing-1800-3200</a:t>
            </a:r>
          </a:p>
          <a:p>
            <a:pPr lvl="0"/>
            <a:endParaRPr lang="en-US" sz="1714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en-US" sz="1714" dirty="0" smtClean="0">
                <a:latin typeface="Calibri" panose="020F0502020204030204" pitchFamily="34" charset="0"/>
                <a:cs typeface="Calibri" panose="020F0502020204030204" pitchFamily="34" charset="0"/>
              </a:rPr>
              <a:t>Physiotherapy-600-1200</a:t>
            </a:r>
          </a:p>
          <a:p>
            <a:pPr lvl="0"/>
            <a:endParaRPr lang="en-US" sz="1714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en-US" sz="1714" dirty="0" smtClean="0">
                <a:latin typeface="Calibri" panose="020F0502020204030204" pitchFamily="34" charset="0"/>
                <a:cs typeface="Calibri" panose="020F0502020204030204" pitchFamily="34" charset="0"/>
              </a:rPr>
              <a:t>Health </a:t>
            </a:r>
            <a:r>
              <a:rPr lang="en-US" sz="1714" dirty="0">
                <a:latin typeface="Calibri" panose="020F0502020204030204" pitchFamily="34" charset="0"/>
                <a:cs typeface="Calibri" panose="020F0502020204030204" pitchFamily="34" charset="0"/>
              </a:rPr>
              <a:t>prime (eldercare)-</a:t>
            </a:r>
            <a:r>
              <a:rPr lang="en-US" sz="1714" dirty="0" smtClean="0">
                <a:latin typeface="Calibri" panose="020F0502020204030204" pitchFamily="34" charset="0"/>
                <a:cs typeface="Calibri" panose="020F0502020204030204" pitchFamily="34" charset="0"/>
              </a:rPr>
              <a:t>2999</a:t>
            </a:r>
          </a:p>
          <a:p>
            <a:pPr lvl="0"/>
            <a:endParaRPr lang="en-US" sz="1714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5245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0ACCF80-E908-41D1-B3CF-E438996E99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2143" dirty="0">
                <a:solidFill>
                  <a:schemeClr val="tx1">
                    <a:alpha val="99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ellness </a:t>
            </a:r>
            <a:r>
              <a:rPr lang="en-US" sz="2143" dirty="0">
                <a:solidFill>
                  <a:schemeClr val="tx1">
                    <a:alpha val="99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viders</a:t>
            </a:r>
            <a:endParaRPr lang="en-US" sz="2143" dirty="0">
              <a:solidFill>
                <a:schemeClr val="tx1">
                  <a:alpha val="99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6E8E165-E293-4462-8473-66A06AE7FB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98901" y="990599"/>
            <a:ext cx="11083499" cy="5382491"/>
          </a:xfrm>
        </p:spPr>
        <p:txBody>
          <a:bodyPr/>
          <a:lstStyle/>
          <a:p>
            <a:r>
              <a:rPr lang="en-US" sz="1714" b="1" dirty="0">
                <a:latin typeface="Calibri" panose="020F0502020204030204" pitchFamily="34" charset="0"/>
                <a:cs typeface="Calibri" panose="020F0502020204030204" pitchFamily="34" charset="0"/>
              </a:rPr>
              <a:t>Health </a:t>
            </a:r>
            <a:r>
              <a:rPr lang="en-US" sz="1714" b="1" dirty="0">
                <a:latin typeface="Calibri" panose="020F0502020204030204" pitchFamily="34" charset="0"/>
                <a:cs typeface="Calibri" panose="020F0502020204030204" pitchFamily="34" charset="0"/>
              </a:rPr>
              <a:t>Check Up</a:t>
            </a:r>
            <a:r>
              <a:rPr lang="en-US" sz="1714" b="1" dirty="0">
                <a:latin typeface="+mn-lt"/>
              </a:rPr>
              <a:t> </a:t>
            </a:r>
            <a:endParaRPr lang="en-US" sz="1714" b="1" dirty="0">
              <a:latin typeface="+mn-lt"/>
            </a:endParaRPr>
          </a:p>
          <a:p>
            <a:endParaRPr lang="en-US" sz="1500" b="1" dirty="0">
              <a:latin typeface="+mn-lt"/>
            </a:endParaRPr>
          </a:p>
          <a:p>
            <a:endParaRPr lang="en-US" sz="1500" b="1" dirty="0">
              <a:latin typeface="+mn-lt"/>
            </a:endParaRPr>
          </a:p>
          <a:p>
            <a:endParaRPr lang="en-US" sz="15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500" b="1" dirty="0">
                <a:latin typeface="Calibri" panose="020F0502020204030204" pitchFamily="34" charset="0"/>
                <a:cs typeface="Calibri" panose="020F0502020204030204" pitchFamily="34" charset="0"/>
              </a:rPr>
              <a:t>Webinars and Vaccinations</a:t>
            </a:r>
          </a:p>
          <a:p>
            <a:endParaRPr lang="en-US" sz="1500" b="1" dirty="0"/>
          </a:p>
          <a:p>
            <a:endParaRPr lang="en-US" sz="1500" b="1" dirty="0"/>
          </a:p>
          <a:p>
            <a:endParaRPr lang="en-US" sz="1500" b="1" dirty="0"/>
          </a:p>
          <a:p>
            <a:endParaRPr lang="en-US" sz="1500" b="1" dirty="0"/>
          </a:p>
          <a:p>
            <a:endParaRPr lang="en-US" sz="1500" b="1" dirty="0"/>
          </a:p>
          <a:p>
            <a:r>
              <a:rPr lang="en-US" sz="1500" b="1" dirty="0">
                <a:latin typeface="+mn-lt"/>
              </a:rPr>
              <a:t>Online consultation and EAP</a:t>
            </a:r>
          </a:p>
          <a:p>
            <a:endParaRPr lang="en-US" sz="1500" b="1" dirty="0"/>
          </a:p>
          <a:p>
            <a:endParaRPr lang="en-US" sz="1500" b="1" dirty="0">
              <a:latin typeface="+mn-lt"/>
            </a:endParaRPr>
          </a:p>
          <a:p>
            <a:r>
              <a:rPr lang="en-US" sz="1500" b="1" dirty="0">
                <a:latin typeface="+mn-lt"/>
              </a:rPr>
              <a:t>OPD   </a:t>
            </a:r>
            <a:r>
              <a:rPr lang="en-US" sz="1500" b="1" dirty="0"/>
              <a:t>                                                    </a:t>
            </a:r>
            <a:r>
              <a:rPr lang="en-US" sz="1500" b="1" dirty="0">
                <a:latin typeface="+mn-lt"/>
              </a:rPr>
              <a:t>Fitness</a:t>
            </a:r>
            <a:r>
              <a:rPr lang="en-US" sz="1500" b="1" dirty="0"/>
              <a:t>                                                </a:t>
            </a:r>
            <a:r>
              <a:rPr lang="en-US" sz="1500" b="1" dirty="0"/>
              <a:t>      </a:t>
            </a:r>
            <a:r>
              <a:rPr lang="en-US" sz="1500" b="1" dirty="0" smtClean="0">
                <a:latin typeface="+mn-lt"/>
              </a:rPr>
              <a:t>Home </a:t>
            </a:r>
            <a:r>
              <a:rPr lang="en-US" sz="1500" b="1" dirty="0">
                <a:latin typeface="+mn-lt"/>
              </a:rPr>
              <a:t>Care</a:t>
            </a:r>
            <a:endParaRPr lang="en-US" sz="1500" b="1" dirty="0">
              <a:latin typeface="+mn-lt"/>
            </a:endParaRPr>
          </a:p>
          <a:p>
            <a:endParaRPr lang="en-US" sz="1500" b="1" dirty="0"/>
          </a:p>
          <a:p>
            <a:endParaRPr lang="en-US" sz="1500" b="1" dirty="0"/>
          </a:p>
          <a:p>
            <a:endParaRPr lang="en-US" sz="1500" b="1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78F095C-D646-4332-98F5-1D1FCCD886E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571" y="1287625"/>
            <a:ext cx="2709283" cy="73400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505871D-F54D-4693-A3AD-46925E591D4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5574" y="1287625"/>
            <a:ext cx="2334545" cy="73400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35CB3A7-E87A-42F6-B1B3-ED6E6364929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0120" y="1287626"/>
            <a:ext cx="2709282" cy="775994"/>
          </a:xfrm>
          <a:prstGeom prst="rect">
            <a:avLst/>
          </a:prstGeom>
        </p:spPr>
      </p:pic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DB00AA35-2059-459A-9733-DD67C9826A5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4232" y="1136074"/>
            <a:ext cx="3040932" cy="92754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1AD9C04-4F35-47A6-8C69-6BC87036519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988" y="2639010"/>
            <a:ext cx="2907726" cy="78999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FBEBC74-551F-4B22-BB2E-FD26540CFFF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6714" y="2639010"/>
            <a:ext cx="2449286" cy="77599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31C3258-2D96-4D23-B00D-DA3FC978178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4864" y="2639010"/>
            <a:ext cx="2120504" cy="775995"/>
          </a:xfrm>
          <a:prstGeom prst="rect">
            <a:avLst/>
          </a:prstGeom>
        </p:spPr>
      </p:pic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DC92B700-769F-4817-B909-787D8E04661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4232" y="2639010"/>
            <a:ext cx="2120505" cy="789990"/>
          </a:xfrm>
          <a:prstGeom prst="rect">
            <a:avLst/>
          </a:prstGeom>
        </p:spPr>
      </p:pic>
      <p:pic>
        <p:nvPicPr>
          <p:cNvPr id="15" name="Picture 14" descr="Logo, company name&#10;&#10;Description automatically generated with medium confidence">
            <a:extLst>
              <a:ext uri="{FF2B5EF4-FFF2-40B4-BE49-F238E27FC236}">
                <a16:creationId xmlns:a16="http://schemas.microsoft.com/office/drawing/2014/main" id="{6E6D804E-A0C4-495E-91AF-844D7D7F8BB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119" y="3415004"/>
            <a:ext cx="2382017" cy="965719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6AACA65-E2A3-4184-A55E-4CE8C7AB6033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268" y="3442997"/>
            <a:ext cx="1707035" cy="937726"/>
          </a:xfrm>
          <a:prstGeom prst="rect">
            <a:avLst/>
          </a:prstGeom>
        </p:spPr>
      </p:pic>
      <p:pic>
        <p:nvPicPr>
          <p:cNvPr id="17" name="Picture 16" descr="Logo, company name&#10;&#10;Description automatically generated">
            <a:extLst>
              <a:ext uri="{FF2B5EF4-FFF2-40B4-BE49-F238E27FC236}">
                <a16:creationId xmlns:a16="http://schemas.microsoft.com/office/drawing/2014/main" id="{E35BC5B7-20BC-415B-BFA6-3395B01DCA2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903" y="4688634"/>
            <a:ext cx="2743951" cy="727789"/>
          </a:xfrm>
          <a:prstGeom prst="rect">
            <a:avLst/>
          </a:prstGeom>
        </p:spPr>
      </p:pic>
      <p:pic>
        <p:nvPicPr>
          <p:cNvPr id="18" name="Picture 17" descr="Logo, company name&#10;&#10;Description automatically generated">
            <a:extLst>
              <a:ext uri="{FF2B5EF4-FFF2-40B4-BE49-F238E27FC236}">
                <a16:creationId xmlns:a16="http://schemas.microsoft.com/office/drawing/2014/main" id="{CA901A6F-FDF1-434E-A74E-5FAFD71633C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6633" y="4604658"/>
            <a:ext cx="3127767" cy="71379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23E1817-EBF4-4904-A117-9641F0CB4CA4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315" y="5682341"/>
            <a:ext cx="2298571" cy="901023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BBA6AEA1-3AA8-4CD6-9FA5-E630F5B39A08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5324" y="5682341"/>
            <a:ext cx="2120504" cy="901021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6729D75F-82C6-40DD-9CB6-15F9EE5E6CC0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7991" y="5682341"/>
            <a:ext cx="2497576" cy="901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06254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50F6F9C-C112-4A39-8322-16391111326C}"/>
              </a:ext>
            </a:extLst>
          </p:cNvPr>
          <p:cNvSpPr txBox="1"/>
          <p:nvPr/>
        </p:nvSpPr>
        <p:spPr>
          <a:xfrm>
            <a:off x="3688702" y="283683"/>
            <a:ext cx="4814595" cy="42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143" dirty="0">
                <a:latin typeface="Calibri" panose="020F0502020204030204" pitchFamily="34" charset="0"/>
                <a:cs typeface="Calibri" panose="020F0502020204030204" pitchFamily="34" charset="0"/>
              </a:rPr>
              <a:t>Service Parameters </a:t>
            </a:r>
            <a:endParaRPr lang="en-IN" sz="2143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17DD213-CC5F-45AA-BBB7-5F75809CFA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67408" y="1085361"/>
            <a:ext cx="9657184" cy="5184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22162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jg2Fvi8RABJsXQ46eiF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jg2Fvi8RABJsXQ46eiF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l_reph_4lARbLCAKJbH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JUzU_vSkOGIhV137WJS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JUzU_vSkOGIhV137WJS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l_reph_4lARbLCAKJbH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6_2018 April Corporate Template">
  <a:themeElements>
    <a:clrScheme name="2018 Liberty Mutual Brand Colors">
      <a:dk1>
        <a:srgbClr val="343741"/>
      </a:dk1>
      <a:lt1>
        <a:srgbClr val="F5F5F5"/>
      </a:lt1>
      <a:dk2>
        <a:srgbClr val="1A1446"/>
      </a:dk2>
      <a:lt2>
        <a:srgbClr val="FFFFFF"/>
      </a:lt2>
      <a:accent1>
        <a:srgbClr val="FFD000"/>
      </a:accent1>
      <a:accent2>
        <a:srgbClr val="78E1E1"/>
      </a:accent2>
      <a:accent3>
        <a:srgbClr val="B0B0B0"/>
      </a:accent3>
      <a:accent4>
        <a:srgbClr val="1A1446"/>
      </a:accent4>
      <a:accent5>
        <a:srgbClr val="06748C"/>
      </a:accent5>
      <a:accent6>
        <a:srgbClr val="343741"/>
      </a:accent6>
      <a:hlink>
        <a:srgbClr val="06748C"/>
      </a:hlink>
      <a:folHlink>
        <a:srgbClr val="000000"/>
      </a:folHlink>
    </a:clrScheme>
    <a:fontScheme name="Custom 1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Equity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algn="ctr">
          <a:noFill/>
          <a:miter lim="800000"/>
          <a:headEnd/>
          <a:tailEnd/>
        </a:ln>
        <a:effectLst/>
      </a:spPr>
      <a:bodyPr wrap="none" rtlCol="0" anchor="ctr">
        <a:noAutofit/>
      </a:bodyPr>
      <a:lstStyle>
        <a:defPPr algn="ctr">
          <a:defRPr sz="1400" dirty="0" smtClean="0">
            <a:solidFill>
              <a:schemeClr val="tx2"/>
            </a:solidFill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8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1BA5246E-431F-48AF-AE4F-6BC63EAD8927}" vid="{714432E4-A8C8-4812-AA51-D9357D963227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Milk Glass">
      <a:fillStyleLst>
        <a:solidFill>
          <a:schemeClr val="phClr"/>
        </a:solidFill>
        <a:gradFill rotWithShape="1">
          <a:gsLst>
            <a:gs pos="0">
              <a:schemeClr val="phClr">
                <a:tint val="15000"/>
                <a:satMod val="250000"/>
              </a:schemeClr>
            </a:gs>
            <a:gs pos="49000">
              <a:schemeClr val="phClr">
                <a:tint val="50000"/>
                <a:satMod val="200000"/>
              </a:schemeClr>
            </a:gs>
            <a:gs pos="49100">
              <a:schemeClr val="phClr">
                <a:tint val="64000"/>
                <a:satMod val="160000"/>
              </a:schemeClr>
            </a:gs>
            <a:gs pos="92000">
              <a:schemeClr val="phClr">
                <a:tint val="50000"/>
                <a:satMod val="200000"/>
              </a:schemeClr>
            </a:gs>
            <a:gs pos="100000">
              <a:schemeClr val="phClr">
                <a:tint val="43000"/>
                <a:satMod val="19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4000"/>
              </a:schemeClr>
            </a:gs>
            <a:gs pos="49000">
              <a:schemeClr val="phClr">
                <a:tint val="96000"/>
                <a:shade val="84000"/>
                <a:satMod val="110000"/>
              </a:schemeClr>
            </a:gs>
            <a:gs pos="49100">
              <a:schemeClr val="phClr">
                <a:shade val="55000"/>
                <a:satMod val="150000"/>
              </a:schemeClr>
            </a:gs>
            <a:gs pos="92000">
              <a:schemeClr val="phClr">
                <a:tint val="98000"/>
                <a:shade val="90000"/>
                <a:satMod val="128000"/>
              </a:schemeClr>
            </a:gs>
            <a:gs pos="100000">
              <a:schemeClr val="phClr">
                <a:tint val="90000"/>
                <a:shade val="97000"/>
                <a:satMod val="128000"/>
              </a:schemeClr>
            </a:gs>
          </a:gsLst>
          <a:lin ang="5400000" scaled="1"/>
        </a:gradFill>
      </a:fillStyleLst>
      <a:lnStyleLst>
        <a:ln w="11430" cap="flat" cmpd="sng" algn="ctr">
          <a:solidFill>
            <a:schemeClr val="phClr"/>
          </a:solidFill>
          <a:prstDash val="solid"/>
        </a:ln>
        <a:ln w="40000" cap="flat" cmpd="sng" algn="ctr">
          <a:solidFill>
            <a:schemeClr val="phClr"/>
          </a:solidFill>
          <a:prstDash val="solid"/>
        </a:ln>
        <a:ln w="31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000" dir="5400000" rotWithShape="0">
              <a:schemeClr val="phClr">
                <a:shade val="30000"/>
                <a:satMod val="150000"/>
                <a:alpha val="38000"/>
              </a:schemeClr>
            </a:outerShdw>
          </a:effectLst>
        </a:effectStyle>
        <a:effectStyle>
          <a:effectLst>
            <a:outerShdw blurRad="39000" dist="25400" dir="5400000" rotWithShape="0">
              <a:schemeClr val="phClr">
                <a:shade val="33000"/>
                <a:alpha val="83000"/>
              </a:schemeClr>
            </a:outerShdw>
          </a:effectLst>
        </a:effectStyle>
        <a:effectStyle>
          <a:effectLst>
            <a:outerShdw blurRad="39000" dist="25400" dir="5400000" rotWithShape="0">
              <a:schemeClr val="phClr">
                <a:shade val="33000"/>
                <a:alpha val="83000"/>
              </a:scheme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500000"/>
            </a:lightRig>
          </a:scene3d>
          <a:sp3d extrusionH="127000" prstMaterial="powder">
            <a:bevelT w="50800" h="635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Milk Glass">
      <a:fillStyleLst>
        <a:solidFill>
          <a:schemeClr val="phClr"/>
        </a:solidFill>
        <a:gradFill rotWithShape="1">
          <a:gsLst>
            <a:gs pos="0">
              <a:schemeClr val="phClr">
                <a:tint val="15000"/>
                <a:satMod val="250000"/>
              </a:schemeClr>
            </a:gs>
            <a:gs pos="49000">
              <a:schemeClr val="phClr">
                <a:tint val="50000"/>
                <a:satMod val="200000"/>
              </a:schemeClr>
            </a:gs>
            <a:gs pos="49100">
              <a:schemeClr val="phClr">
                <a:tint val="64000"/>
                <a:satMod val="160000"/>
              </a:schemeClr>
            </a:gs>
            <a:gs pos="92000">
              <a:schemeClr val="phClr">
                <a:tint val="50000"/>
                <a:satMod val="200000"/>
              </a:schemeClr>
            </a:gs>
            <a:gs pos="100000">
              <a:schemeClr val="phClr">
                <a:tint val="43000"/>
                <a:satMod val="19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4000"/>
              </a:schemeClr>
            </a:gs>
            <a:gs pos="49000">
              <a:schemeClr val="phClr">
                <a:tint val="96000"/>
                <a:shade val="84000"/>
                <a:satMod val="110000"/>
              </a:schemeClr>
            </a:gs>
            <a:gs pos="49100">
              <a:schemeClr val="phClr">
                <a:shade val="55000"/>
                <a:satMod val="150000"/>
              </a:schemeClr>
            </a:gs>
            <a:gs pos="92000">
              <a:schemeClr val="phClr">
                <a:tint val="98000"/>
                <a:shade val="90000"/>
                <a:satMod val="128000"/>
              </a:schemeClr>
            </a:gs>
            <a:gs pos="100000">
              <a:schemeClr val="phClr">
                <a:tint val="90000"/>
                <a:shade val="97000"/>
                <a:satMod val="128000"/>
              </a:schemeClr>
            </a:gs>
          </a:gsLst>
          <a:lin ang="5400000" scaled="1"/>
        </a:gradFill>
      </a:fillStyleLst>
      <a:lnStyleLst>
        <a:ln w="11430" cap="flat" cmpd="sng" algn="ctr">
          <a:solidFill>
            <a:schemeClr val="phClr"/>
          </a:solidFill>
          <a:prstDash val="solid"/>
        </a:ln>
        <a:ln w="40000" cap="flat" cmpd="sng" algn="ctr">
          <a:solidFill>
            <a:schemeClr val="phClr"/>
          </a:solidFill>
          <a:prstDash val="solid"/>
        </a:ln>
        <a:ln w="31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000" dir="5400000" rotWithShape="0">
              <a:schemeClr val="phClr">
                <a:shade val="30000"/>
                <a:satMod val="150000"/>
                <a:alpha val="38000"/>
              </a:schemeClr>
            </a:outerShdw>
          </a:effectLst>
        </a:effectStyle>
        <a:effectStyle>
          <a:effectLst>
            <a:outerShdw blurRad="39000" dist="25400" dir="5400000" rotWithShape="0">
              <a:schemeClr val="phClr">
                <a:shade val="33000"/>
                <a:alpha val="83000"/>
              </a:schemeClr>
            </a:outerShdw>
          </a:effectLst>
        </a:effectStyle>
        <a:effectStyle>
          <a:effectLst>
            <a:outerShdw blurRad="39000" dist="25400" dir="5400000" rotWithShape="0">
              <a:schemeClr val="phClr">
                <a:shade val="33000"/>
                <a:alpha val="83000"/>
              </a:scheme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500000"/>
            </a:lightRig>
          </a:scene3d>
          <a:sp3d extrusionH="127000" prstMaterial="powder">
            <a:bevelT w="50800" h="635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7_2018 April Corporate Template">
  <a:themeElements>
    <a:clrScheme name="2018 Liberty Mutual Brand Colors">
      <a:dk1>
        <a:srgbClr val="343741"/>
      </a:dk1>
      <a:lt1>
        <a:srgbClr val="F5F5F5"/>
      </a:lt1>
      <a:dk2>
        <a:srgbClr val="1A1446"/>
      </a:dk2>
      <a:lt2>
        <a:srgbClr val="FFFFFF"/>
      </a:lt2>
      <a:accent1>
        <a:srgbClr val="FFD000"/>
      </a:accent1>
      <a:accent2>
        <a:srgbClr val="78E1E1"/>
      </a:accent2>
      <a:accent3>
        <a:srgbClr val="B0B0B0"/>
      </a:accent3>
      <a:accent4>
        <a:srgbClr val="1A1446"/>
      </a:accent4>
      <a:accent5>
        <a:srgbClr val="06748C"/>
      </a:accent5>
      <a:accent6>
        <a:srgbClr val="343741"/>
      </a:accent6>
      <a:hlink>
        <a:srgbClr val="06748C"/>
      </a:hlink>
      <a:folHlink>
        <a:srgbClr val="000000"/>
      </a:folHlink>
    </a:clrScheme>
    <a:fontScheme name="Custom 1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Equity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algn="ctr">
          <a:noFill/>
          <a:miter lim="800000"/>
          <a:headEnd/>
          <a:tailEnd/>
        </a:ln>
        <a:effectLst/>
      </a:spPr>
      <a:bodyPr wrap="none" rtlCol="0" anchor="ctr">
        <a:noAutofit/>
      </a:bodyPr>
      <a:lstStyle>
        <a:defPPr algn="ctr">
          <a:defRPr sz="1400" dirty="0" smtClean="0">
            <a:solidFill>
              <a:schemeClr val="tx2"/>
            </a:solidFill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8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1BA5246E-431F-48AF-AE4F-6BC63EAD8927}" vid="{714432E4-A8C8-4812-AA51-D9357D963227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939</TotalTime>
  <Words>595</Words>
  <Application>Microsoft Office PowerPoint</Application>
  <PresentationFormat>Widescreen</PresentationFormat>
  <Paragraphs>128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2" baseType="lpstr">
      <vt:lpstr>Arial</vt:lpstr>
      <vt:lpstr>Calibri</vt:lpstr>
      <vt:lpstr>Calibri Light</vt:lpstr>
      <vt:lpstr>Courier New</vt:lpstr>
      <vt:lpstr>Roboto</vt:lpstr>
      <vt:lpstr>Wingdings</vt:lpstr>
      <vt:lpstr>Wingdings 2</vt:lpstr>
      <vt:lpstr>6_2018 April Corporate Template</vt:lpstr>
      <vt:lpstr>Custom Design</vt:lpstr>
      <vt:lpstr>1_Custom Design</vt:lpstr>
      <vt:lpstr>7_2018 April Corporate Template</vt:lpstr>
      <vt:lpstr>think-cell Slide</vt:lpstr>
      <vt:lpstr>PowerPoint Presentation</vt:lpstr>
      <vt:lpstr>Proposed Value Proposition for &lt;500 Lives Marsh Facility</vt:lpstr>
      <vt:lpstr>Proposed Value Proposition for &gt;500 Lives Marsh Facility</vt:lpstr>
      <vt:lpstr>Wellness</vt:lpstr>
      <vt:lpstr>PowerPoint Presentation</vt:lpstr>
      <vt:lpstr>PowerPoint Presentation</vt:lpstr>
      <vt:lpstr>PowerPoint Presentation</vt:lpstr>
      <vt:lpstr>Wellness Provider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paredness post 2nd wave of COVID</dc:title>
  <dc:creator>Balaji Cuddapah</dc:creator>
  <cp:lastModifiedBy>Gaurav Kelkar</cp:lastModifiedBy>
  <cp:revision>121</cp:revision>
  <dcterms:created xsi:type="dcterms:W3CDTF">2021-05-27T05:58:26Z</dcterms:created>
  <dcterms:modified xsi:type="dcterms:W3CDTF">2021-08-11T08:41:00Z</dcterms:modified>
</cp:coreProperties>
</file>